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7" r:id="rId1"/>
    <p:sldMasterId id="2147483675" r:id="rId2"/>
  </p:sldMasterIdLst>
  <p:notesMasterIdLst>
    <p:notesMasterId r:id="rId24"/>
  </p:notesMasterIdLst>
  <p:sldIdLst>
    <p:sldId id="291" r:id="rId3"/>
    <p:sldId id="257" r:id="rId4"/>
    <p:sldId id="258" r:id="rId5"/>
    <p:sldId id="269" r:id="rId6"/>
    <p:sldId id="266" r:id="rId7"/>
    <p:sldId id="267" r:id="rId8"/>
    <p:sldId id="268" r:id="rId9"/>
    <p:sldId id="259" r:id="rId10"/>
    <p:sldId id="275" r:id="rId11"/>
    <p:sldId id="288" r:id="rId12"/>
    <p:sldId id="260" r:id="rId13"/>
    <p:sldId id="287" r:id="rId14"/>
    <p:sldId id="284" r:id="rId15"/>
    <p:sldId id="286" r:id="rId16"/>
    <p:sldId id="261" r:id="rId17"/>
    <p:sldId id="289" r:id="rId18"/>
    <p:sldId id="281" r:id="rId19"/>
    <p:sldId id="282" r:id="rId20"/>
    <p:sldId id="283" r:id="rId21"/>
    <p:sldId id="262" r:id="rId22"/>
    <p:sldId id="265" r:id="rId23"/>
  </p:sldIdLst>
  <p:sldSz cx="20104100" cy="12852400"/>
  <p:notesSz cx="20104100" cy="128524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+ Introduction" id="{0C52E8C3-3E28-42CC-B6FE-9DF83890437F}">
          <p14:sldIdLst>
            <p14:sldId id="291"/>
            <p14:sldId id="257"/>
            <p14:sldId id="258"/>
          </p14:sldIdLst>
        </p14:section>
        <p14:section name="Sample descriptives" id="{1390D4ED-768C-47FD-B85B-B9DA27EBF326}">
          <p14:sldIdLst>
            <p14:sldId id="269"/>
          </p14:sldIdLst>
        </p14:section>
        <p14:section name="Perception of institutions" id="{32AF722E-DBDF-4EB1-B28A-5FCE20AE5B85}">
          <p14:sldIdLst>
            <p14:sldId id="266"/>
            <p14:sldId id="267"/>
            <p14:sldId id="268"/>
            <p14:sldId id="259"/>
          </p14:sldIdLst>
        </p14:section>
        <p14:section name="Amicable divorce" id="{C834DAD5-BFB9-4EAC-AF54-157BBC98ADC3}">
          <p14:sldIdLst>
            <p14:sldId id="275"/>
            <p14:sldId id="288"/>
            <p14:sldId id="260"/>
          </p14:sldIdLst>
        </p14:section>
        <p14:section name="Mediation services" id="{1A7885FA-3DD7-410B-A73F-FE687378000B}">
          <p14:sldIdLst>
            <p14:sldId id="287"/>
            <p14:sldId id="284"/>
            <p14:sldId id="286"/>
            <p14:sldId id="261"/>
          </p14:sldIdLst>
        </p14:section>
        <p14:section name="Attitudes towards behav interventions" id="{D8736E53-C3B3-427B-8353-0BEED27A4687}">
          <p14:sldIdLst>
            <p14:sldId id="289"/>
            <p14:sldId id="281"/>
            <p14:sldId id="282"/>
            <p14:sldId id="283"/>
            <p14:sldId id="262"/>
            <p14:sldId id="265"/>
          </p14:sldIdLst>
        </p14:section>
        <p14:section name="Unused Slides" id="{D39AEC56-D434-4E22-8D28-B6656E651CB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78A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1B935E-EFE6-4C3E-A08A-9A2C075CB4A8}" v="37" dt="2026-03-18T10:20:22.210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45" autoAdjust="0"/>
    <p:restoredTop sz="94668"/>
  </p:normalViewPr>
  <p:slideViewPr>
    <p:cSldViewPr>
      <p:cViewPr varScale="1">
        <p:scale>
          <a:sx n="52" d="100"/>
          <a:sy n="52" d="100"/>
        </p:scale>
        <p:origin x="1422" y="282"/>
      </p:cViewPr>
      <p:guideLst>
        <p:guide orient="horz" pos="2880"/>
        <p:guide pos="2160"/>
      </p:guideLst>
    </p:cSldViewPr>
  </p:slid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120" d="100"/>
        <a:sy n="120" d="100"/>
      </p:scale>
      <p:origin x="0" y="-3102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xel Sonntag" userId="e543118cff811cdf" providerId="LiveId" clId="{CB2BC8D2-656B-474C-B51E-BE8CB20A4B55}"/>
    <pc:docChg chg="undo custSel addSld delSld modSld delMainMaster modMainMaster modSection">
      <pc:chgData name="Axel Sonntag" userId="e543118cff811cdf" providerId="LiveId" clId="{CB2BC8D2-656B-474C-B51E-BE8CB20A4B55}" dt="2026-03-18T10:49:44.488" v="109" actId="6549"/>
      <pc:docMkLst>
        <pc:docMk/>
      </pc:docMkLst>
      <pc:sldChg chg="del">
        <pc:chgData name="Axel Sonntag" userId="e543118cff811cdf" providerId="LiveId" clId="{CB2BC8D2-656B-474C-B51E-BE8CB20A4B55}" dt="2026-03-18T10:48:50.252" v="102" actId="47"/>
        <pc:sldMkLst>
          <pc:docMk/>
          <pc:sldMk cId="0" sldId="256"/>
        </pc:sldMkLst>
      </pc:sldChg>
      <pc:sldChg chg="modNotesTx">
        <pc:chgData name="Axel Sonntag" userId="e543118cff811cdf" providerId="LiveId" clId="{CB2BC8D2-656B-474C-B51E-BE8CB20A4B55}" dt="2026-03-18T10:49:10.025" v="103" actId="6549"/>
        <pc:sldMkLst>
          <pc:docMk/>
          <pc:sldMk cId="0" sldId="257"/>
        </pc:sldMkLst>
      </pc:sldChg>
      <pc:sldChg chg="modNotesTx">
        <pc:chgData name="Axel Sonntag" userId="e543118cff811cdf" providerId="LiveId" clId="{CB2BC8D2-656B-474C-B51E-BE8CB20A4B55}" dt="2026-03-18T10:49:12.869" v="104" actId="6549"/>
        <pc:sldMkLst>
          <pc:docMk/>
          <pc:sldMk cId="0" sldId="258"/>
        </pc:sldMkLst>
      </pc:sldChg>
      <pc:sldChg chg="modNotesTx">
        <pc:chgData name="Axel Sonntag" userId="e543118cff811cdf" providerId="LiveId" clId="{CB2BC8D2-656B-474C-B51E-BE8CB20A4B55}" dt="2026-03-18T10:49:20.084" v="105" actId="6549"/>
        <pc:sldMkLst>
          <pc:docMk/>
          <pc:sldMk cId="94786473" sldId="259"/>
        </pc:sldMkLst>
      </pc:sldChg>
      <pc:sldChg chg="modNotesTx">
        <pc:chgData name="Axel Sonntag" userId="e543118cff811cdf" providerId="LiveId" clId="{CB2BC8D2-656B-474C-B51E-BE8CB20A4B55}" dt="2026-03-18T10:49:25.409" v="106" actId="6549"/>
        <pc:sldMkLst>
          <pc:docMk/>
          <pc:sldMk cId="0" sldId="260"/>
        </pc:sldMkLst>
      </pc:sldChg>
      <pc:sldChg chg="modNotesTx">
        <pc:chgData name="Axel Sonntag" userId="e543118cff811cdf" providerId="LiveId" clId="{CB2BC8D2-656B-474C-B51E-BE8CB20A4B55}" dt="2026-03-18T10:49:33.229" v="107" actId="6549"/>
        <pc:sldMkLst>
          <pc:docMk/>
          <pc:sldMk cId="0" sldId="261"/>
        </pc:sldMkLst>
      </pc:sldChg>
      <pc:sldChg chg="modNotesTx">
        <pc:chgData name="Axel Sonntag" userId="e543118cff811cdf" providerId="LiveId" clId="{CB2BC8D2-656B-474C-B51E-BE8CB20A4B55}" dt="2026-03-18T10:49:40.332" v="108" actId="6549"/>
        <pc:sldMkLst>
          <pc:docMk/>
          <pc:sldMk cId="1418371143" sldId="262"/>
        </pc:sldMkLst>
      </pc:sldChg>
      <pc:sldChg chg="del">
        <pc:chgData name="Axel Sonntag" userId="e543118cff811cdf" providerId="LiveId" clId="{CB2BC8D2-656B-474C-B51E-BE8CB20A4B55}" dt="2026-03-18T10:08:54.934" v="0" actId="47"/>
        <pc:sldMkLst>
          <pc:docMk/>
          <pc:sldMk cId="0" sldId="263"/>
        </pc:sldMkLst>
      </pc:sldChg>
      <pc:sldChg chg="del">
        <pc:chgData name="Axel Sonntag" userId="e543118cff811cdf" providerId="LiveId" clId="{CB2BC8D2-656B-474C-B51E-BE8CB20A4B55}" dt="2026-03-18T10:08:54.934" v="0" actId="47"/>
        <pc:sldMkLst>
          <pc:docMk/>
          <pc:sldMk cId="0" sldId="264"/>
        </pc:sldMkLst>
      </pc:sldChg>
      <pc:sldChg chg="modNotesTx">
        <pc:chgData name="Axel Sonntag" userId="e543118cff811cdf" providerId="LiveId" clId="{CB2BC8D2-656B-474C-B51E-BE8CB20A4B55}" dt="2026-03-18T10:49:44.488" v="109" actId="6549"/>
        <pc:sldMkLst>
          <pc:docMk/>
          <pc:sldMk cId="0" sldId="265"/>
        </pc:sldMkLst>
      </pc:sldChg>
      <pc:sldChg chg="del">
        <pc:chgData name="Axel Sonntag" userId="e543118cff811cdf" providerId="LiveId" clId="{CB2BC8D2-656B-474C-B51E-BE8CB20A4B55}" dt="2026-03-18T10:09:14.840" v="3" actId="47"/>
        <pc:sldMkLst>
          <pc:docMk/>
          <pc:sldMk cId="3727535474" sldId="270"/>
        </pc:sldMkLst>
      </pc:sldChg>
      <pc:sldChg chg="del">
        <pc:chgData name="Axel Sonntag" userId="e543118cff811cdf" providerId="LiveId" clId="{CB2BC8D2-656B-474C-B51E-BE8CB20A4B55}" dt="2026-03-18T10:09:14.840" v="3" actId="47"/>
        <pc:sldMkLst>
          <pc:docMk/>
          <pc:sldMk cId="4189587778" sldId="271"/>
        </pc:sldMkLst>
      </pc:sldChg>
      <pc:sldChg chg="del">
        <pc:chgData name="Axel Sonntag" userId="e543118cff811cdf" providerId="LiveId" clId="{CB2BC8D2-656B-474C-B51E-BE8CB20A4B55}" dt="2026-03-18T10:09:14.840" v="3" actId="47"/>
        <pc:sldMkLst>
          <pc:docMk/>
          <pc:sldMk cId="2504974356" sldId="272"/>
        </pc:sldMkLst>
      </pc:sldChg>
      <pc:sldChg chg="del">
        <pc:chgData name="Axel Sonntag" userId="e543118cff811cdf" providerId="LiveId" clId="{CB2BC8D2-656B-474C-B51E-BE8CB20A4B55}" dt="2026-03-18T10:08:54.934" v="0" actId="47"/>
        <pc:sldMkLst>
          <pc:docMk/>
          <pc:sldMk cId="2820423815" sldId="273"/>
        </pc:sldMkLst>
      </pc:sldChg>
      <pc:sldChg chg="del">
        <pc:chgData name="Axel Sonntag" userId="e543118cff811cdf" providerId="LiveId" clId="{CB2BC8D2-656B-474C-B51E-BE8CB20A4B55}" dt="2026-03-18T10:08:54.934" v="0" actId="47"/>
        <pc:sldMkLst>
          <pc:docMk/>
          <pc:sldMk cId="3741812655" sldId="274"/>
        </pc:sldMkLst>
      </pc:sldChg>
      <pc:sldChg chg="del">
        <pc:chgData name="Axel Sonntag" userId="e543118cff811cdf" providerId="LiveId" clId="{CB2BC8D2-656B-474C-B51E-BE8CB20A4B55}" dt="2026-03-18T10:09:02.964" v="1" actId="47"/>
        <pc:sldMkLst>
          <pc:docMk/>
          <pc:sldMk cId="116173895" sldId="276"/>
        </pc:sldMkLst>
      </pc:sldChg>
      <pc:sldChg chg="del">
        <pc:chgData name="Axel Sonntag" userId="e543118cff811cdf" providerId="LiveId" clId="{CB2BC8D2-656B-474C-B51E-BE8CB20A4B55}" dt="2026-03-18T10:09:02.964" v="1" actId="47"/>
        <pc:sldMkLst>
          <pc:docMk/>
          <pc:sldMk cId="2214695381" sldId="277"/>
        </pc:sldMkLst>
      </pc:sldChg>
      <pc:sldChg chg="del">
        <pc:chgData name="Axel Sonntag" userId="e543118cff811cdf" providerId="LiveId" clId="{CB2BC8D2-656B-474C-B51E-BE8CB20A4B55}" dt="2026-03-18T10:09:02.964" v="1" actId="47"/>
        <pc:sldMkLst>
          <pc:docMk/>
          <pc:sldMk cId="1070901586" sldId="278"/>
        </pc:sldMkLst>
      </pc:sldChg>
      <pc:sldChg chg="del">
        <pc:chgData name="Axel Sonntag" userId="e543118cff811cdf" providerId="LiveId" clId="{CB2BC8D2-656B-474C-B51E-BE8CB20A4B55}" dt="2026-03-18T10:09:02.964" v="1" actId="47"/>
        <pc:sldMkLst>
          <pc:docMk/>
          <pc:sldMk cId="214772205" sldId="279"/>
        </pc:sldMkLst>
      </pc:sldChg>
      <pc:sldChg chg="del">
        <pc:chgData name="Axel Sonntag" userId="e543118cff811cdf" providerId="LiveId" clId="{CB2BC8D2-656B-474C-B51E-BE8CB20A4B55}" dt="2026-03-18T10:09:02.964" v="1" actId="47"/>
        <pc:sldMkLst>
          <pc:docMk/>
          <pc:sldMk cId="3683671900" sldId="280"/>
        </pc:sldMkLst>
      </pc:sldChg>
      <pc:sldChg chg="del">
        <pc:chgData name="Axel Sonntag" userId="e543118cff811cdf" providerId="LiveId" clId="{CB2BC8D2-656B-474C-B51E-BE8CB20A4B55}" dt="2026-03-18T10:09:07.507" v="2" actId="47"/>
        <pc:sldMkLst>
          <pc:docMk/>
          <pc:sldMk cId="466121641" sldId="285"/>
        </pc:sldMkLst>
      </pc:sldChg>
      <pc:sldChg chg="del">
        <pc:chgData name="Axel Sonntag" userId="e543118cff811cdf" providerId="LiveId" clId="{CB2BC8D2-656B-474C-B51E-BE8CB20A4B55}" dt="2026-03-18T10:09:02.964" v="1" actId="47"/>
        <pc:sldMkLst>
          <pc:docMk/>
          <pc:sldMk cId="2152153236" sldId="290"/>
        </pc:sldMkLst>
      </pc:sldChg>
      <pc:sldChg chg="add del">
        <pc:chgData name="Axel Sonntag" userId="e543118cff811cdf" providerId="LiveId" clId="{CB2BC8D2-656B-474C-B51E-BE8CB20A4B55}" dt="2026-03-18T10:19:52.654" v="6" actId="47"/>
        <pc:sldMkLst>
          <pc:docMk/>
          <pc:sldMk cId="2767624905" sldId="290"/>
        </pc:sldMkLst>
      </pc:sldChg>
      <pc:sldChg chg="addSp modSp add mod">
        <pc:chgData name="Axel Sonntag" userId="e543118cff811cdf" providerId="LiveId" clId="{CB2BC8D2-656B-474C-B51E-BE8CB20A4B55}" dt="2026-03-18T10:20:25.215" v="101" actId="20577"/>
        <pc:sldMkLst>
          <pc:docMk/>
          <pc:sldMk cId="133489269" sldId="291"/>
        </pc:sldMkLst>
        <pc:spChg chg="mod">
          <ac:chgData name="Axel Sonntag" userId="e543118cff811cdf" providerId="LiveId" clId="{CB2BC8D2-656B-474C-B51E-BE8CB20A4B55}" dt="2026-03-18T10:20:08.700" v="70" actId="948"/>
          <ac:spMkLst>
            <pc:docMk/>
            <pc:sldMk cId="133489269" sldId="291"/>
            <ac:spMk id="2" creationId="{695FA108-8F59-B4CC-B6FF-2F5CEE241D56}"/>
          </ac:spMkLst>
        </pc:spChg>
        <pc:spChg chg="mod">
          <ac:chgData name="Axel Sonntag" userId="e543118cff811cdf" providerId="LiveId" clId="{CB2BC8D2-656B-474C-B51E-BE8CB20A4B55}" dt="2026-03-18T10:20:25.215" v="101" actId="20577"/>
          <ac:spMkLst>
            <pc:docMk/>
            <pc:sldMk cId="133489269" sldId="291"/>
            <ac:spMk id="3" creationId="{D3C1BCAF-5AEC-16EF-7B52-C790A06FA3A5}"/>
          </ac:spMkLst>
        </pc:spChg>
        <pc:graphicFrameChg chg="add mod ord modVis">
          <ac:chgData name="Axel Sonntag" userId="e543118cff811cdf" providerId="LiveId" clId="{CB2BC8D2-656B-474C-B51E-BE8CB20A4B55}" dt="2026-03-18T10:20:08.021" v="62"/>
          <ac:graphicFrameMkLst>
            <pc:docMk/>
            <pc:sldMk cId="133489269" sldId="291"/>
            <ac:graphicFrameMk id="4" creationId="{4685509E-7502-348A-76A2-FABDD8BEAF01}"/>
          </ac:graphicFrameMkLst>
        </pc:graphicFrameChg>
        <pc:graphicFrameChg chg="add mod ord modVis">
          <ac:chgData name="Axel Sonntag" userId="e543118cff811cdf" providerId="LiveId" clId="{CB2BC8D2-656B-474C-B51E-BE8CB20A4B55}" dt="2026-03-18T10:20:08.753" v="84"/>
          <ac:graphicFrameMkLst>
            <pc:docMk/>
            <pc:sldMk cId="133489269" sldId="291"/>
            <ac:graphicFrameMk id="5" creationId="{E1199252-707F-B8D9-FD35-41385024DFCC}"/>
          </ac:graphicFrameMkLst>
        </pc:graphicFrameChg>
      </pc:sldChg>
      <pc:sldMasterChg chg="del delSldLayout">
        <pc:chgData name="Axel Sonntag" userId="e543118cff811cdf" providerId="LiveId" clId="{CB2BC8D2-656B-474C-B51E-BE8CB20A4B55}" dt="2026-03-18T10:48:50.252" v="102" actId="47"/>
        <pc:sldMasterMkLst>
          <pc:docMk/>
          <pc:sldMasterMk cId="0" sldId="2147483648"/>
        </pc:sldMasterMkLst>
        <pc:sldLayoutChg chg="del">
          <pc:chgData name="Axel Sonntag" userId="e543118cff811cdf" providerId="LiveId" clId="{CB2BC8D2-656B-474C-B51E-BE8CB20A4B55}" dt="2026-03-18T10:48:50.252" v="102" actId="47"/>
          <pc:sldLayoutMkLst>
            <pc:docMk/>
            <pc:sldMasterMk cId="0" sldId="2147483648"/>
            <pc:sldLayoutMk cId="0" sldId="2147483661"/>
          </pc:sldLayoutMkLst>
        </pc:sldLayoutChg>
        <pc:sldLayoutChg chg="del">
          <pc:chgData name="Axel Sonntag" userId="e543118cff811cdf" providerId="LiveId" clId="{CB2BC8D2-656B-474C-B51E-BE8CB20A4B55}" dt="2026-03-18T10:48:50.252" v="102" actId="47"/>
          <pc:sldLayoutMkLst>
            <pc:docMk/>
            <pc:sldMasterMk cId="0" sldId="2147483648"/>
            <pc:sldLayoutMk cId="0" sldId="2147483662"/>
          </pc:sldLayoutMkLst>
        </pc:sldLayoutChg>
        <pc:sldLayoutChg chg="del">
          <pc:chgData name="Axel Sonntag" userId="e543118cff811cdf" providerId="LiveId" clId="{CB2BC8D2-656B-474C-B51E-BE8CB20A4B55}" dt="2026-03-18T10:48:50.252" v="102" actId="47"/>
          <pc:sldLayoutMkLst>
            <pc:docMk/>
            <pc:sldMasterMk cId="0" sldId="2147483648"/>
            <pc:sldLayoutMk cId="0" sldId="2147483663"/>
          </pc:sldLayoutMkLst>
        </pc:sldLayoutChg>
        <pc:sldLayoutChg chg="del">
          <pc:chgData name="Axel Sonntag" userId="e543118cff811cdf" providerId="LiveId" clId="{CB2BC8D2-656B-474C-B51E-BE8CB20A4B55}" dt="2026-03-18T10:48:50.252" v="102" actId="47"/>
          <pc:sldLayoutMkLst>
            <pc:docMk/>
            <pc:sldMasterMk cId="0" sldId="2147483648"/>
            <pc:sldLayoutMk cId="0" sldId="2147483664"/>
          </pc:sldLayoutMkLst>
        </pc:sldLayoutChg>
        <pc:sldLayoutChg chg="del">
          <pc:chgData name="Axel Sonntag" userId="e543118cff811cdf" providerId="LiveId" clId="{CB2BC8D2-656B-474C-B51E-BE8CB20A4B55}" dt="2026-03-18T10:48:50.252" v="102" actId="47"/>
          <pc:sldLayoutMkLst>
            <pc:docMk/>
            <pc:sldMasterMk cId="0" sldId="2147483648"/>
            <pc:sldLayoutMk cId="0" sldId="2147483665"/>
          </pc:sldLayoutMkLst>
        </pc:sldLayoutChg>
      </pc:sldMasterChg>
      <pc:sldMasterChg chg="addSp modSp mod">
        <pc:chgData name="Axel Sonntag" userId="e543118cff811cdf" providerId="LiveId" clId="{CB2BC8D2-656B-474C-B51E-BE8CB20A4B55}" dt="2026-03-18T10:20:08.780" v="98"/>
        <pc:sldMasterMkLst>
          <pc:docMk/>
          <pc:sldMasterMk cId="84747404" sldId="2147483675"/>
        </pc:sldMasterMkLst>
        <pc:graphicFrameChg chg="add mod ord modVis">
          <ac:chgData name="Axel Sonntag" userId="e543118cff811cdf" providerId="LiveId" clId="{CB2BC8D2-656B-474C-B51E-BE8CB20A4B55}" dt="2026-03-18T10:20:08.021" v="62"/>
          <ac:graphicFrameMkLst>
            <pc:docMk/>
            <pc:sldMasterMk cId="84747404" sldId="2147483675"/>
            <ac:graphicFrameMk id="6" creationId="{B7965498-C335-D635-6F05-25B4CEDD13C4}"/>
          </ac:graphicFrameMkLst>
        </pc:graphicFrameChg>
        <pc:graphicFrameChg chg="add mod ord modVis">
          <ac:chgData name="Axel Sonntag" userId="e543118cff811cdf" providerId="LiveId" clId="{CB2BC8D2-656B-474C-B51E-BE8CB20A4B55}" dt="2026-03-18T10:20:08.780" v="98"/>
          <ac:graphicFrameMkLst>
            <pc:docMk/>
            <pc:sldMasterMk cId="84747404" sldId="2147483675"/>
            <ac:graphicFrameMk id="8" creationId="{B0F92641-8FAF-C3FA-F3DE-1847A284B220}"/>
          </ac:graphicFrameMkLst>
        </pc:graphicFrame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6445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6445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238DBC-0FBC-4568-B2A3-FDDA8B1F400D}" type="datetimeFigureOut">
              <a:rPr lang="de-DE" smtClean="0"/>
              <a:t>18.03.2026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606550"/>
            <a:ext cx="6784975" cy="4337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09775" y="6184900"/>
            <a:ext cx="16084550" cy="50609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2207875"/>
            <a:ext cx="8712200" cy="6445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387138" y="12207875"/>
            <a:ext cx="8712200" cy="6445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38A69D-9579-4B52-ACCD-2908D78DAAF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30967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A7488-92E1-AF4C-A146-36BD0925131B}" type="slidenum">
              <a:rPr kumimoji="0" lang="de-A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A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85718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</p:sp>
    </p:spTree>
    <p:extLst>
      <p:ext uri="{BB962C8B-B14F-4D97-AF65-F5344CB8AC3E}">
        <p14:creationId xmlns:p14="http://schemas.microsoft.com/office/powerpoint/2010/main" val="2643528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8A69D-9579-4B52-ACCD-2908D78DAAF5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81423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</p:sp>
    </p:spTree>
    <p:extLst>
      <p:ext uri="{BB962C8B-B14F-4D97-AF65-F5344CB8AC3E}">
        <p14:creationId xmlns:p14="http://schemas.microsoft.com/office/powerpoint/2010/main" val="27452631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5.png"/><Relationship Id="rId7" Type="http://schemas.openxmlformats.org/officeDocument/2006/relationships/image" Target="../media/image7.png"/><Relationship Id="rId12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11" Type="http://schemas.openxmlformats.org/officeDocument/2006/relationships/image" Target="../media/image20.png"/><Relationship Id="rId5" Type="http://schemas.openxmlformats.org/officeDocument/2006/relationships/image" Target="../media/image17.png"/><Relationship Id="rId10" Type="http://schemas.openxmlformats.org/officeDocument/2006/relationships/image" Target="../media/image10.png"/><Relationship Id="rId4" Type="http://schemas.openxmlformats.org/officeDocument/2006/relationships/image" Target="../media/image16.png"/><Relationship Id="rId9" Type="http://schemas.openxmlformats.org/officeDocument/2006/relationships/image" Target="../media/image19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5.png"/><Relationship Id="rId7" Type="http://schemas.openxmlformats.org/officeDocument/2006/relationships/image" Target="../media/image7.png"/><Relationship Id="rId12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11" Type="http://schemas.openxmlformats.org/officeDocument/2006/relationships/image" Target="../media/image20.png"/><Relationship Id="rId5" Type="http://schemas.openxmlformats.org/officeDocument/2006/relationships/image" Target="../media/image17.png"/><Relationship Id="rId10" Type="http://schemas.openxmlformats.org/officeDocument/2006/relationships/image" Target="../media/image10.png"/><Relationship Id="rId4" Type="http://schemas.openxmlformats.org/officeDocument/2006/relationships/image" Target="../media/image16.png"/><Relationship Id="rId9" Type="http://schemas.openxmlformats.org/officeDocument/2006/relationships/image" Target="../media/image19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5.png"/><Relationship Id="rId7" Type="http://schemas.openxmlformats.org/officeDocument/2006/relationships/image" Target="../media/image7.png"/><Relationship Id="rId12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11" Type="http://schemas.openxmlformats.org/officeDocument/2006/relationships/image" Target="../media/image20.png"/><Relationship Id="rId5" Type="http://schemas.openxmlformats.org/officeDocument/2006/relationships/image" Target="../media/image17.png"/><Relationship Id="rId10" Type="http://schemas.openxmlformats.org/officeDocument/2006/relationships/image" Target="../media/image10.png"/><Relationship Id="rId4" Type="http://schemas.openxmlformats.org/officeDocument/2006/relationships/image" Target="../media/image16.png"/><Relationship Id="rId9" Type="http://schemas.openxmlformats.org/officeDocument/2006/relationships/image" Target="../media/image19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5.png"/><Relationship Id="rId7" Type="http://schemas.openxmlformats.org/officeDocument/2006/relationships/image" Target="../media/image7.png"/><Relationship Id="rId12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11" Type="http://schemas.openxmlformats.org/officeDocument/2006/relationships/image" Target="../media/image20.png"/><Relationship Id="rId5" Type="http://schemas.openxmlformats.org/officeDocument/2006/relationships/image" Target="../media/image17.png"/><Relationship Id="rId10" Type="http://schemas.openxmlformats.org/officeDocument/2006/relationships/image" Target="../media/image10.png"/><Relationship Id="rId4" Type="http://schemas.openxmlformats.org/officeDocument/2006/relationships/image" Target="../media/image16.png"/><Relationship Id="rId9" Type="http://schemas.openxmlformats.org/officeDocument/2006/relationships/image" Target="../media/image19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5.png"/><Relationship Id="rId7" Type="http://schemas.openxmlformats.org/officeDocument/2006/relationships/image" Target="../media/image7.png"/><Relationship Id="rId12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11" Type="http://schemas.openxmlformats.org/officeDocument/2006/relationships/image" Target="../media/image20.png"/><Relationship Id="rId5" Type="http://schemas.openxmlformats.org/officeDocument/2006/relationships/image" Target="../media/image17.png"/><Relationship Id="rId10" Type="http://schemas.openxmlformats.org/officeDocument/2006/relationships/image" Target="../media/image10.png"/><Relationship Id="rId4" Type="http://schemas.openxmlformats.org/officeDocument/2006/relationships/image" Target="../media/image16.png"/><Relationship Id="rId9" Type="http://schemas.openxmlformats.org/officeDocument/2006/relationships/image" Target="../media/image19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5.png"/><Relationship Id="rId7" Type="http://schemas.openxmlformats.org/officeDocument/2006/relationships/image" Target="../media/image7.png"/><Relationship Id="rId12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11" Type="http://schemas.openxmlformats.org/officeDocument/2006/relationships/image" Target="../media/image20.png"/><Relationship Id="rId5" Type="http://schemas.openxmlformats.org/officeDocument/2006/relationships/image" Target="../media/image17.png"/><Relationship Id="rId10" Type="http://schemas.openxmlformats.org/officeDocument/2006/relationships/image" Target="../media/image10.png"/><Relationship Id="rId4" Type="http://schemas.openxmlformats.org/officeDocument/2006/relationships/image" Target="../media/image16.png"/><Relationship Id="rId9" Type="http://schemas.openxmlformats.org/officeDocument/2006/relationships/image" Target="../media/image19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5.png"/><Relationship Id="rId7" Type="http://schemas.openxmlformats.org/officeDocument/2006/relationships/image" Target="../media/image7.png"/><Relationship Id="rId12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11" Type="http://schemas.openxmlformats.org/officeDocument/2006/relationships/image" Target="../media/image20.png"/><Relationship Id="rId5" Type="http://schemas.openxmlformats.org/officeDocument/2006/relationships/image" Target="../media/image17.png"/><Relationship Id="rId10" Type="http://schemas.openxmlformats.org/officeDocument/2006/relationships/image" Target="../media/image10.png"/><Relationship Id="rId4" Type="http://schemas.openxmlformats.org/officeDocument/2006/relationships/image" Target="../media/image16.png"/><Relationship Id="rId9" Type="http://schemas.openxmlformats.org/officeDocument/2006/relationships/image" Target="../media/image19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B638C7-FFAE-822D-DCE9-8783EF0C3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3013" y="2103438"/>
            <a:ext cx="15078075" cy="4475162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6CB164-5C64-2AF3-67D4-66518CE2A0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3013" y="6750050"/>
            <a:ext cx="15078075" cy="31035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A3EC9C-BB05-4C04-46AD-587573D58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bg object 16">
            <a:extLst>
              <a:ext uri="{FF2B5EF4-FFF2-40B4-BE49-F238E27FC236}">
                <a16:creationId xmlns:a16="http://schemas.microsoft.com/office/drawing/2014/main" id="{9C9C508F-0308-AB7C-152B-74AC17DD6B6F}"/>
              </a:ext>
            </a:extLst>
          </p:cNvPr>
          <p:cNvSpPr/>
          <p:nvPr userDrawn="1"/>
        </p:nvSpPr>
        <p:spPr>
          <a:xfrm>
            <a:off x="17231199" y="11172070"/>
            <a:ext cx="587375" cy="579755"/>
          </a:xfrm>
          <a:custGeom>
            <a:avLst/>
            <a:gdLst/>
            <a:ahLst/>
            <a:cxnLst/>
            <a:rect l="l" t="t" r="r" b="b"/>
            <a:pathLst>
              <a:path w="587375" h="579754">
                <a:moveTo>
                  <a:pt x="587259" y="0"/>
                </a:moveTo>
                <a:lnTo>
                  <a:pt x="513460" y="0"/>
                </a:lnTo>
                <a:lnTo>
                  <a:pt x="513460" y="285687"/>
                </a:lnTo>
                <a:lnTo>
                  <a:pt x="507898" y="334898"/>
                </a:lnTo>
                <a:lnTo>
                  <a:pt x="492045" y="380220"/>
                </a:lnTo>
                <a:lnTo>
                  <a:pt x="467148" y="420422"/>
                </a:lnTo>
                <a:lnTo>
                  <a:pt x="434457" y="454279"/>
                </a:lnTo>
                <a:lnTo>
                  <a:pt x="434457" y="0"/>
                </a:lnTo>
                <a:lnTo>
                  <a:pt x="358407" y="0"/>
                </a:lnTo>
                <a:lnTo>
                  <a:pt x="358407" y="495754"/>
                </a:lnTo>
                <a:lnTo>
                  <a:pt x="342810" y="499947"/>
                </a:lnTo>
                <a:lnTo>
                  <a:pt x="326785" y="503005"/>
                </a:lnTo>
                <a:lnTo>
                  <a:pt x="310376" y="504877"/>
                </a:lnTo>
                <a:lnTo>
                  <a:pt x="293624" y="505513"/>
                </a:lnTo>
                <a:lnTo>
                  <a:pt x="249374" y="501039"/>
                </a:lnTo>
                <a:lnTo>
                  <a:pt x="208134" y="488212"/>
                </a:lnTo>
                <a:lnTo>
                  <a:pt x="170795" y="467921"/>
                </a:lnTo>
                <a:lnTo>
                  <a:pt x="138248" y="441058"/>
                </a:lnTo>
                <a:lnTo>
                  <a:pt x="111383" y="408513"/>
                </a:lnTo>
                <a:lnTo>
                  <a:pt x="91090" y="371175"/>
                </a:lnTo>
                <a:lnTo>
                  <a:pt x="78262" y="329937"/>
                </a:lnTo>
                <a:lnTo>
                  <a:pt x="73788" y="285687"/>
                </a:lnTo>
                <a:lnTo>
                  <a:pt x="73788" y="272431"/>
                </a:lnTo>
                <a:lnTo>
                  <a:pt x="0" y="272431"/>
                </a:lnTo>
                <a:lnTo>
                  <a:pt x="0" y="285687"/>
                </a:lnTo>
                <a:lnTo>
                  <a:pt x="3850" y="333251"/>
                </a:lnTo>
                <a:lnTo>
                  <a:pt x="14995" y="378394"/>
                </a:lnTo>
                <a:lnTo>
                  <a:pt x="32825" y="420508"/>
                </a:lnTo>
                <a:lnTo>
                  <a:pt x="56731" y="458984"/>
                </a:lnTo>
                <a:lnTo>
                  <a:pt x="86103" y="493212"/>
                </a:lnTo>
                <a:lnTo>
                  <a:pt x="120332" y="522583"/>
                </a:lnTo>
                <a:lnTo>
                  <a:pt x="158808" y="546488"/>
                </a:lnTo>
                <a:lnTo>
                  <a:pt x="200921" y="564317"/>
                </a:lnTo>
                <a:lnTo>
                  <a:pt x="246063" y="575462"/>
                </a:lnTo>
                <a:lnTo>
                  <a:pt x="293624" y="579312"/>
                </a:lnTo>
                <a:lnTo>
                  <a:pt x="341190" y="575462"/>
                </a:lnTo>
                <a:lnTo>
                  <a:pt x="386336" y="564317"/>
                </a:lnTo>
                <a:lnTo>
                  <a:pt x="428452" y="546488"/>
                </a:lnTo>
                <a:lnTo>
                  <a:pt x="466929" y="522583"/>
                </a:lnTo>
                <a:lnTo>
                  <a:pt x="501158" y="493212"/>
                </a:lnTo>
                <a:lnTo>
                  <a:pt x="530530" y="458984"/>
                </a:lnTo>
                <a:lnTo>
                  <a:pt x="554435" y="420508"/>
                </a:lnTo>
                <a:lnTo>
                  <a:pt x="572265" y="378394"/>
                </a:lnTo>
                <a:lnTo>
                  <a:pt x="583409" y="333251"/>
                </a:lnTo>
                <a:lnTo>
                  <a:pt x="587259" y="285687"/>
                </a:lnTo>
                <a:lnTo>
                  <a:pt x="587259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8" name="bg object 17">
            <a:extLst>
              <a:ext uri="{FF2B5EF4-FFF2-40B4-BE49-F238E27FC236}">
                <a16:creationId xmlns:a16="http://schemas.microsoft.com/office/drawing/2014/main" id="{70A04AC1-F516-7969-58AE-146588F70BE2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8065731" y="11020372"/>
            <a:ext cx="91557" cy="243814"/>
          </a:xfrm>
          <a:prstGeom prst="rect">
            <a:avLst/>
          </a:prstGeom>
        </p:spPr>
      </p:pic>
      <p:pic>
        <p:nvPicPr>
          <p:cNvPr id="9" name="bg object 18">
            <a:extLst>
              <a:ext uri="{FF2B5EF4-FFF2-40B4-BE49-F238E27FC236}">
                <a16:creationId xmlns:a16="http://schemas.microsoft.com/office/drawing/2014/main" id="{6C3A8CE9-88B5-4F54-FE05-C64E2B12001D}"/>
              </a:ext>
            </a:extLst>
          </p:cNvPr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8196176" y="11020373"/>
            <a:ext cx="157984" cy="188088"/>
          </a:xfrm>
          <a:prstGeom prst="rect">
            <a:avLst/>
          </a:prstGeom>
        </p:spPr>
      </p:pic>
      <p:pic>
        <p:nvPicPr>
          <p:cNvPr id="10" name="bg object 19">
            <a:extLst>
              <a:ext uri="{FF2B5EF4-FFF2-40B4-BE49-F238E27FC236}">
                <a16:creationId xmlns:a16="http://schemas.microsoft.com/office/drawing/2014/main" id="{F1F9BA7C-68A1-6E93-A124-A3F217D5C0E1}"/>
              </a:ext>
            </a:extLst>
          </p:cNvPr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8384343" y="11017713"/>
            <a:ext cx="284270" cy="190748"/>
          </a:xfrm>
          <a:prstGeom prst="rect">
            <a:avLst/>
          </a:prstGeom>
        </p:spPr>
      </p:pic>
      <p:sp>
        <p:nvSpPr>
          <p:cNvPr id="11" name="bg object 20">
            <a:extLst>
              <a:ext uri="{FF2B5EF4-FFF2-40B4-BE49-F238E27FC236}">
                <a16:creationId xmlns:a16="http://schemas.microsoft.com/office/drawing/2014/main" id="{2967AD86-4EE4-772E-2BC5-8922A387D7CC}"/>
              </a:ext>
            </a:extLst>
          </p:cNvPr>
          <p:cNvSpPr/>
          <p:nvPr userDrawn="1"/>
        </p:nvSpPr>
        <p:spPr>
          <a:xfrm>
            <a:off x="18695001" y="11020376"/>
            <a:ext cx="50165" cy="186055"/>
          </a:xfrm>
          <a:custGeom>
            <a:avLst/>
            <a:gdLst/>
            <a:ahLst/>
            <a:cxnLst/>
            <a:rect l="l" t="t" r="r" b="b"/>
            <a:pathLst>
              <a:path w="50165" h="186054">
                <a:moveTo>
                  <a:pt x="50134" y="0"/>
                </a:moveTo>
                <a:lnTo>
                  <a:pt x="0" y="0"/>
                </a:lnTo>
                <a:lnTo>
                  <a:pt x="0" y="185554"/>
                </a:lnTo>
                <a:lnTo>
                  <a:pt x="50134" y="185554"/>
                </a:lnTo>
                <a:lnTo>
                  <a:pt x="501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2" name="bg object 21">
            <a:extLst>
              <a:ext uri="{FF2B5EF4-FFF2-40B4-BE49-F238E27FC236}">
                <a16:creationId xmlns:a16="http://schemas.microsoft.com/office/drawing/2014/main" id="{5F1ADD02-9C4F-0862-D2B6-A6F92285736B}"/>
              </a:ext>
            </a:extLst>
          </p:cNvPr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8778226" y="11017713"/>
            <a:ext cx="146738" cy="190748"/>
          </a:xfrm>
          <a:prstGeom prst="rect">
            <a:avLst/>
          </a:prstGeom>
        </p:spPr>
      </p:pic>
      <p:sp>
        <p:nvSpPr>
          <p:cNvPr id="13" name="bg object 22">
            <a:extLst>
              <a:ext uri="{FF2B5EF4-FFF2-40B4-BE49-F238E27FC236}">
                <a16:creationId xmlns:a16="http://schemas.microsoft.com/office/drawing/2014/main" id="{8B8B4325-729E-3A00-6586-DCE1B21CF7FA}"/>
              </a:ext>
            </a:extLst>
          </p:cNvPr>
          <p:cNvSpPr/>
          <p:nvPr userDrawn="1"/>
        </p:nvSpPr>
        <p:spPr>
          <a:xfrm>
            <a:off x="18952884" y="11020512"/>
            <a:ext cx="109855" cy="185420"/>
          </a:xfrm>
          <a:custGeom>
            <a:avLst/>
            <a:gdLst/>
            <a:ahLst/>
            <a:cxnLst/>
            <a:rect l="l" t="t" r="r" b="b"/>
            <a:pathLst>
              <a:path w="109855" h="185420">
                <a:moveTo>
                  <a:pt x="109601" y="0"/>
                </a:moveTo>
                <a:lnTo>
                  <a:pt x="0" y="0"/>
                </a:lnTo>
                <a:lnTo>
                  <a:pt x="0" y="40640"/>
                </a:lnTo>
                <a:lnTo>
                  <a:pt x="0" y="69850"/>
                </a:lnTo>
                <a:lnTo>
                  <a:pt x="0" y="109220"/>
                </a:lnTo>
                <a:lnTo>
                  <a:pt x="0" y="144780"/>
                </a:lnTo>
                <a:lnTo>
                  <a:pt x="0" y="185420"/>
                </a:lnTo>
                <a:lnTo>
                  <a:pt x="109601" y="185420"/>
                </a:lnTo>
                <a:lnTo>
                  <a:pt x="109601" y="144780"/>
                </a:lnTo>
                <a:lnTo>
                  <a:pt x="49885" y="144780"/>
                </a:lnTo>
                <a:lnTo>
                  <a:pt x="49885" y="109220"/>
                </a:lnTo>
                <a:lnTo>
                  <a:pt x="105181" y="109220"/>
                </a:lnTo>
                <a:lnTo>
                  <a:pt x="105181" y="69850"/>
                </a:lnTo>
                <a:lnTo>
                  <a:pt x="49885" y="69850"/>
                </a:lnTo>
                <a:lnTo>
                  <a:pt x="49885" y="40640"/>
                </a:lnTo>
                <a:lnTo>
                  <a:pt x="109601" y="40640"/>
                </a:lnTo>
                <a:lnTo>
                  <a:pt x="109601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4" name="bg object 23">
            <a:extLst>
              <a:ext uri="{FF2B5EF4-FFF2-40B4-BE49-F238E27FC236}">
                <a16:creationId xmlns:a16="http://schemas.microsoft.com/office/drawing/2014/main" id="{8ADF066E-C8D0-F414-F8E1-8AE238D0CD59}"/>
              </a:ext>
            </a:extLst>
          </p:cNvPr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8055059" y="11302723"/>
            <a:ext cx="235657" cy="180287"/>
          </a:xfrm>
          <a:prstGeom prst="rect">
            <a:avLst/>
          </a:prstGeom>
        </p:spPr>
      </p:pic>
      <p:sp>
        <p:nvSpPr>
          <p:cNvPr id="15" name="bg object 24">
            <a:extLst>
              <a:ext uri="{FF2B5EF4-FFF2-40B4-BE49-F238E27FC236}">
                <a16:creationId xmlns:a16="http://schemas.microsoft.com/office/drawing/2014/main" id="{7F979289-4B58-DE1C-E185-4792C5D563CA}"/>
              </a:ext>
            </a:extLst>
          </p:cNvPr>
          <p:cNvSpPr/>
          <p:nvPr userDrawn="1"/>
        </p:nvSpPr>
        <p:spPr>
          <a:xfrm>
            <a:off x="18316233" y="11302681"/>
            <a:ext cx="362585" cy="180340"/>
          </a:xfrm>
          <a:custGeom>
            <a:avLst/>
            <a:gdLst/>
            <a:ahLst/>
            <a:cxnLst/>
            <a:rect l="l" t="t" r="r" b="b"/>
            <a:pathLst>
              <a:path w="362584" h="180340">
                <a:moveTo>
                  <a:pt x="29476" y="50"/>
                </a:moveTo>
                <a:lnTo>
                  <a:pt x="0" y="50"/>
                </a:lnTo>
                <a:lnTo>
                  <a:pt x="0" y="180340"/>
                </a:lnTo>
                <a:lnTo>
                  <a:pt x="29476" y="180340"/>
                </a:lnTo>
                <a:lnTo>
                  <a:pt x="29476" y="50"/>
                </a:lnTo>
                <a:close/>
              </a:path>
              <a:path w="362584" h="180340">
                <a:moveTo>
                  <a:pt x="192379" y="0"/>
                </a:moveTo>
                <a:lnTo>
                  <a:pt x="56845" y="0"/>
                </a:lnTo>
                <a:lnTo>
                  <a:pt x="56845" y="25400"/>
                </a:lnTo>
                <a:lnTo>
                  <a:pt x="109880" y="25400"/>
                </a:lnTo>
                <a:lnTo>
                  <a:pt x="109880" y="180340"/>
                </a:lnTo>
                <a:lnTo>
                  <a:pt x="139344" y="180340"/>
                </a:lnTo>
                <a:lnTo>
                  <a:pt x="139344" y="25400"/>
                </a:lnTo>
                <a:lnTo>
                  <a:pt x="192379" y="25400"/>
                </a:lnTo>
                <a:lnTo>
                  <a:pt x="192379" y="0"/>
                </a:lnTo>
                <a:close/>
              </a:path>
              <a:path w="362584" h="180340">
                <a:moveTo>
                  <a:pt x="362191" y="0"/>
                </a:moveTo>
                <a:lnTo>
                  <a:pt x="332587" y="0"/>
                </a:lnTo>
                <a:lnTo>
                  <a:pt x="332587" y="73660"/>
                </a:lnTo>
                <a:lnTo>
                  <a:pt x="249478" y="73660"/>
                </a:lnTo>
                <a:lnTo>
                  <a:pt x="249478" y="0"/>
                </a:lnTo>
                <a:lnTo>
                  <a:pt x="220002" y="0"/>
                </a:lnTo>
                <a:lnTo>
                  <a:pt x="220002" y="73660"/>
                </a:lnTo>
                <a:lnTo>
                  <a:pt x="220002" y="99060"/>
                </a:lnTo>
                <a:lnTo>
                  <a:pt x="220002" y="180340"/>
                </a:lnTo>
                <a:lnTo>
                  <a:pt x="249478" y="180340"/>
                </a:lnTo>
                <a:lnTo>
                  <a:pt x="249478" y="99060"/>
                </a:lnTo>
                <a:lnTo>
                  <a:pt x="332587" y="99060"/>
                </a:lnTo>
                <a:lnTo>
                  <a:pt x="332587" y="180340"/>
                </a:lnTo>
                <a:lnTo>
                  <a:pt x="362191" y="180340"/>
                </a:lnTo>
                <a:lnTo>
                  <a:pt x="362191" y="99060"/>
                </a:lnTo>
                <a:lnTo>
                  <a:pt x="362191" y="73660"/>
                </a:lnTo>
                <a:lnTo>
                  <a:pt x="362191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6" name="bg object 25">
            <a:extLst>
              <a:ext uri="{FF2B5EF4-FFF2-40B4-BE49-F238E27FC236}">
                <a16:creationId xmlns:a16="http://schemas.microsoft.com/office/drawing/2014/main" id="{DF461108-D6C1-797E-B950-4DD66E4EF64C}"/>
              </a:ext>
            </a:extLst>
          </p:cNvPr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8717022" y="11299886"/>
            <a:ext cx="168947" cy="185596"/>
          </a:xfrm>
          <a:prstGeom prst="rect">
            <a:avLst/>
          </a:prstGeom>
        </p:spPr>
      </p:pic>
      <p:pic>
        <p:nvPicPr>
          <p:cNvPr id="17" name="bg object 26">
            <a:extLst>
              <a:ext uri="{FF2B5EF4-FFF2-40B4-BE49-F238E27FC236}">
                <a16:creationId xmlns:a16="http://schemas.microsoft.com/office/drawing/2014/main" id="{C329512C-66A9-8AA1-5A50-A9EF0FA37028}"/>
              </a:ext>
            </a:extLst>
          </p:cNvPr>
          <p:cNvPicPr/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8923085" y="11302724"/>
            <a:ext cx="142927" cy="182758"/>
          </a:xfrm>
          <a:prstGeom prst="rect">
            <a:avLst/>
          </a:prstGeom>
        </p:spPr>
      </p:pic>
      <p:sp>
        <p:nvSpPr>
          <p:cNvPr id="18" name="bg object 27">
            <a:extLst>
              <a:ext uri="{FF2B5EF4-FFF2-40B4-BE49-F238E27FC236}">
                <a16:creationId xmlns:a16="http://schemas.microsoft.com/office/drawing/2014/main" id="{AA552D04-6694-8E25-F5D4-0D2D3525660D}"/>
              </a:ext>
            </a:extLst>
          </p:cNvPr>
          <p:cNvSpPr/>
          <p:nvPr userDrawn="1"/>
        </p:nvSpPr>
        <p:spPr>
          <a:xfrm>
            <a:off x="19091898" y="11302681"/>
            <a:ext cx="135890" cy="180340"/>
          </a:xfrm>
          <a:custGeom>
            <a:avLst/>
            <a:gdLst/>
            <a:ahLst/>
            <a:cxnLst/>
            <a:rect l="l" t="t" r="r" b="b"/>
            <a:pathLst>
              <a:path w="135890" h="180340">
                <a:moveTo>
                  <a:pt x="135534" y="0"/>
                </a:moveTo>
                <a:lnTo>
                  <a:pt x="0" y="0"/>
                </a:lnTo>
                <a:lnTo>
                  <a:pt x="0" y="25400"/>
                </a:lnTo>
                <a:lnTo>
                  <a:pt x="53022" y="25400"/>
                </a:lnTo>
                <a:lnTo>
                  <a:pt x="53022" y="180340"/>
                </a:lnTo>
                <a:lnTo>
                  <a:pt x="82499" y="180340"/>
                </a:lnTo>
                <a:lnTo>
                  <a:pt x="82499" y="25400"/>
                </a:lnTo>
                <a:lnTo>
                  <a:pt x="135534" y="25400"/>
                </a:lnTo>
                <a:lnTo>
                  <a:pt x="1355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19" name="bg object 28">
            <a:extLst>
              <a:ext uri="{FF2B5EF4-FFF2-40B4-BE49-F238E27FC236}">
                <a16:creationId xmlns:a16="http://schemas.microsoft.com/office/drawing/2014/main" id="{4615AAA0-1FBD-48FE-E7DE-792C2A7768DA}"/>
              </a:ext>
            </a:extLst>
          </p:cNvPr>
          <p:cNvSpPr/>
          <p:nvPr userDrawn="1"/>
        </p:nvSpPr>
        <p:spPr>
          <a:xfrm>
            <a:off x="18065725" y="11566511"/>
            <a:ext cx="142875" cy="180975"/>
          </a:xfrm>
          <a:custGeom>
            <a:avLst/>
            <a:gdLst/>
            <a:ahLst/>
            <a:cxnLst/>
            <a:rect l="l" t="t" r="r" b="b"/>
            <a:pathLst>
              <a:path w="142875" h="180975">
                <a:moveTo>
                  <a:pt x="98767" y="169303"/>
                </a:moveTo>
                <a:lnTo>
                  <a:pt x="12598" y="169303"/>
                </a:lnTo>
                <a:lnTo>
                  <a:pt x="12598" y="393"/>
                </a:lnTo>
                <a:lnTo>
                  <a:pt x="0" y="393"/>
                </a:lnTo>
                <a:lnTo>
                  <a:pt x="0" y="169303"/>
                </a:lnTo>
                <a:lnTo>
                  <a:pt x="0" y="180733"/>
                </a:lnTo>
                <a:lnTo>
                  <a:pt x="98767" y="180733"/>
                </a:lnTo>
                <a:lnTo>
                  <a:pt x="98767" y="169303"/>
                </a:lnTo>
                <a:close/>
              </a:path>
              <a:path w="142875" h="180975">
                <a:moveTo>
                  <a:pt x="142532" y="0"/>
                </a:moveTo>
                <a:lnTo>
                  <a:pt x="129921" y="0"/>
                </a:lnTo>
                <a:lnTo>
                  <a:pt x="129921" y="180733"/>
                </a:lnTo>
                <a:lnTo>
                  <a:pt x="142532" y="180733"/>
                </a:lnTo>
                <a:lnTo>
                  <a:pt x="142532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0" name="bg object 29">
            <a:extLst>
              <a:ext uri="{FF2B5EF4-FFF2-40B4-BE49-F238E27FC236}">
                <a16:creationId xmlns:a16="http://schemas.microsoft.com/office/drawing/2014/main" id="{FD4DDF0F-6B14-6202-91EC-E51D8409074F}"/>
              </a:ext>
            </a:extLst>
          </p:cNvPr>
          <p:cNvSpPr/>
          <p:nvPr userDrawn="1"/>
        </p:nvSpPr>
        <p:spPr>
          <a:xfrm>
            <a:off x="18235080" y="11566511"/>
            <a:ext cx="170180" cy="180975"/>
          </a:xfrm>
          <a:custGeom>
            <a:avLst/>
            <a:gdLst/>
            <a:ahLst/>
            <a:cxnLst/>
            <a:rect l="l" t="t" r="r" b="b"/>
            <a:pathLst>
              <a:path w="170180" h="180975">
                <a:moveTo>
                  <a:pt x="130175" y="393"/>
                </a:moveTo>
                <a:lnTo>
                  <a:pt x="0" y="393"/>
                </a:lnTo>
                <a:lnTo>
                  <a:pt x="0" y="11823"/>
                </a:lnTo>
                <a:lnTo>
                  <a:pt x="58724" y="11823"/>
                </a:lnTo>
                <a:lnTo>
                  <a:pt x="58724" y="180733"/>
                </a:lnTo>
                <a:lnTo>
                  <a:pt x="71450" y="180733"/>
                </a:lnTo>
                <a:lnTo>
                  <a:pt x="71450" y="11823"/>
                </a:lnTo>
                <a:lnTo>
                  <a:pt x="130175" y="11823"/>
                </a:lnTo>
                <a:lnTo>
                  <a:pt x="130175" y="393"/>
                </a:lnTo>
                <a:close/>
              </a:path>
              <a:path w="170180" h="180975">
                <a:moveTo>
                  <a:pt x="169608" y="0"/>
                </a:moveTo>
                <a:lnTo>
                  <a:pt x="156997" y="0"/>
                </a:lnTo>
                <a:lnTo>
                  <a:pt x="156997" y="180733"/>
                </a:lnTo>
                <a:lnTo>
                  <a:pt x="169608" y="180733"/>
                </a:lnTo>
                <a:lnTo>
                  <a:pt x="169608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21" name="bg object 30">
            <a:extLst>
              <a:ext uri="{FF2B5EF4-FFF2-40B4-BE49-F238E27FC236}">
                <a16:creationId xmlns:a16="http://schemas.microsoft.com/office/drawing/2014/main" id="{43E699B2-E458-2995-5D88-04E53876E534}"/>
              </a:ext>
            </a:extLst>
          </p:cNvPr>
          <p:cNvPicPr/>
          <p:nvPr userDrawn="1"/>
        </p:nvPicPr>
        <p:blipFill>
          <a:blip r:embed="rId9" cstate="print"/>
          <a:stretch>
            <a:fillRect/>
          </a:stretch>
        </p:blipFill>
        <p:spPr>
          <a:xfrm>
            <a:off x="18446220" y="11563659"/>
            <a:ext cx="147367" cy="186046"/>
          </a:xfrm>
          <a:prstGeom prst="rect">
            <a:avLst/>
          </a:prstGeom>
        </p:spPr>
      </p:pic>
      <p:pic>
        <p:nvPicPr>
          <p:cNvPr id="22" name="bg object 31">
            <a:extLst>
              <a:ext uri="{FF2B5EF4-FFF2-40B4-BE49-F238E27FC236}">
                <a16:creationId xmlns:a16="http://schemas.microsoft.com/office/drawing/2014/main" id="{F30E1109-5C52-7147-9A0C-E19DFC1E4D18}"/>
              </a:ext>
            </a:extLst>
          </p:cNvPr>
          <p:cNvPicPr/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18613357" y="11565767"/>
            <a:ext cx="283342" cy="181470"/>
          </a:xfrm>
          <a:prstGeom prst="rect">
            <a:avLst/>
          </a:prstGeom>
        </p:spPr>
      </p:pic>
      <p:sp>
        <p:nvSpPr>
          <p:cNvPr id="23" name="bg object 32">
            <a:extLst>
              <a:ext uri="{FF2B5EF4-FFF2-40B4-BE49-F238E27FC236}">
                <a16:creationId xmlns:a16="http://schemas.microsoft.com/office/drawing/2014/main" id="{42CF63BD-5D40-EEB0-DF41-CEC79A1D3E3E}"/>
              </a:ext>
            </a:extLst>
          </p:cNvPr>
          <p:cNvSpPr/>
          <p:nvPr userDrawn="1"/>
        </p:nvSpPr>
        <p:spPr>
          <a:xfrm>
            <a:off x="18923528" y="11566506"/>
            <a:ext cx="12700" cy="180975"/>
          </a:xfrm>
          <a:custGeom>
            <a:avLst/>
            <a:gdLst/>
            <a:ahLst/>
            <a:cxnLst/>
            <a:rect l="l" t="t" r="r" b="b"/>
            <a:pathLst>
              <a:path w="12700" h="180975">
                <a:moveTo>
                  <a:pt x="12606" y="0"/>
                </a:moveTo>
                <a:lnTo>
                  <a:pt x="0" y="0"/>
                </a:lnTo>
                <a:lnTo>
                  <a:pt x="0" y="180727"/>
                </a:lnTo>
                <a:lnTo>
                  <a:pt x="12606" y="180727"/>
                </a:lnTo>
                <a:lnTo>
                  <a:pt x="12606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24" name="bg object 33">
            <a:extLst>
              <a:ext uri="{FF2B5EF4-FFF2-40B4-BE49-F238E27FC236}">
                <a16:creationId xmlns:a16="http://schemas.microsoft.com/office/drawing/2014/main" id="{71908A2C-5F52-AE6F-237C-C0334B011E3D}"/>
              </a:ext>
            </a:extLst>
          </p:cNvPr>
          <p:cNvPicPr/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18977667" y="11563661"/>
            <a:ext cx="161576" cy="186046"/>
          </a:xfrm>
          <a:prstGeom prst="rect">
            <a:avLst/>
          </a:prstGeom>
        </p:spPr>
      </p:pic>
      <p:pic>
        <p:nvPicPr>
          <p:cNvPr id="25" name="bg object 34">
            <a:extLst>
              <a:ext uri="{FF2B5EF4-FFF2-40B4-BE49-F238E27FC236}">
                <a16:creationId xmlns:a16="http://schemas.microsoft.com/office/drawing/2014/main" id="{433D25D3-D9E2-66BE-D1F2-BD0074CB4317}"/>
              </a:ext>
            </a:extLst>
          </p:cNvPr>
          <p:cNvPicPr/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19180778" y="11566509"/>
            <a:ext cx="131409" cy="180727"/>
          </a:xfrm>
          <a:prstGeom prst="rect">
            <a:avLst/>
          </a:prstGeom>
        </p:spPr>
      </p:pic>
      <p:sp>
        <p:nvSpPr>
          <p:cNvPr id="26" name="bg object 35">
            <a:extLst>
              <a:ext uri="{FF2B5EF4-FFF2-40B4-BE49-F238E27FC236}">
                <a16:creationId xmlns:a16="http://schemas.microsoft.com/office/drawing/2014/main" id="{26CBE305-D6E8-0DF9-6AE0-1DDE2BA3F60C}"/>
              </a:ext>
            </a:extLst>
          </p:cNvPr>
          <p:cNvSpPr/>
          <p:nvPr userDrawn="1"/>
        </p:nvSpPr>
        <p:spPr>
          <a:xfrm>
            <a:off x="17305002" y="11018376"/>
            <a:ext cx="513715" cy="76200"/>
          </a:xfrm>
          <a:custGeom>
            <a:avLst/>
            <a:gdLst/>
            <a:ahLst/>
            <a:cxnLst/>
            <a:rect l="l" t="t" r="r" b="b"/>
            <a:pathLst>
              <a:path w="513715" h="76200">
                <a:moveTo>
                  <a:pt x="513418" y="0"/>
                </a:moveTo>
                <a:lnTo>
                  <a:pt x="0" y="0"/>
                </a:lnTo>
                <a:lnTo>
                  <a:pt x="0" y="76050"/>
                </a:lnTo>
                <a:lnTo>
                  <a:pt x="513418" y="76050"/>
                </a:lnTo>
                <a:lnTo>
                  <a:pt x="513418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7" name="bg object 36">
            <a:extLst>
              <a:ext uri="{FF2B5EF4-FFF2-40B4-BE49-F238E27FC236}">
                <a16:creationId xmlns:a16="http://schemas.microsoft.com/office/drawing/2014/main" id="{49B07775-70E9-6ADF-4D5D-ECA4A521C64A}"/>
              </a:ext>
            </a:extLst>
          </p:cNvPr>
          <p:cNvSpPr/>
          <p:nvPr userDrawn="1"/>
        </p:nvSpPr>
        <p:spPr>
          <a:xfrm>
            <a:off x="497344" y="0"/>
            <a:ext cx="630555" cy="4417695"/>
          </a:xfrm>
          <a:custGeom>
            <a:avLst/>
            <a:gdLst/>
            <a:ahLst/>
            <a:cxnLst/>
            <a:rect l="l" t="t" r="r" b="b"/>
            <a:pathLst>
              <a:path w="630555" h="4417695">
                <a:moveTo>
                  <a:pt x="630242" y="4083639"/>
                </a:moveTo>
                <a:lnTo>
                  <a:pt x="630242" y="4073744"/>
                </a:lnTo>
                <a:lnTo>
                  <a:pt x="630106" y="4073859"/>
                </a:lnTo>
                <a:lnTo>
                  <a:pt x="629855" y="4074090"/>
                </a:lnTo>
                <a:lnTo>
                  <a:pt x="629855" y="0"/>
                </a:lnTo>
              </a:path>
              <a:path w="630555" h="4417695">
                <a:moveTo>
                  <a:pt x="2434" y="0"/>
                </a:moveTo>
                <a:lnTo>
                  <a:pt x="0" y="2699357"/>
                </a:lnTo>
                <a:lnTo>
                  <a:pt x="0" y="4417388"/>
                </a:lnTo>
                <a:lnTo>
                  <a:pt x="49735" y="4401593"/>
                </a:lnTo>
                <a:lnTo>
                  <a:pt x="98845" y="4384492"/>
                </a:lnTo>
                <a:lnTo>
                  <a:pt x="147304" y="4366102"/>
                </a:lnTo>
                <a:lnTo>
                  <a:pt x="195086" y="4346440"/>
                </a:lnTo>
                <a:lnTo>
                  <a:pt x="242168" y="4325523"/>
                </a:lnTo>
                <a:lnTo>
                  <a:pt x="288524" y="4303369"/>
                </a:lnTo>
                <a:lnTo>
                  <a:pt x="334129" y="4279994"/>
                </a:lnTo>
                <a:lnTo>
                  <a:pt x="378959" y="4255416"/>
                </a:lnTo>
                <a:lnTo>
                  <a:pt x="422987" y="4229652"/>
                </a:lnTo>
                <a:lnTo>
                  <a:pt x="466190" y="4202719"/>
                </a:lnTo>
                <a:lnTo>
                  <a:pt x="508541" y="4174634"/>
                </a:lnTo>
                <a:lnTo>
                  <a:pt x="550017" y="4145414"/>
                </a:lnTo>
                <a:lnTo>
                  <a:pt x="590593" y="4115077"/>
                </a:lnTo>
                <a:lnTo>
                  <a:pt x="630242" y="4083639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8" name="bg object 37">
            <a:extLst>
              <a:ext uri="{FF2B5EF4-FFF2-40B4-BE49-F238E27FC236}">
                <a16:creationId xmlns:a16="http://schemas.microsoft.com/office/drawing/2014/main" id="{866F0171-8565-E004-6377-A8AC64D571F7}"/>
              </a:ext>
            </a:extLst>
          </p:cNvPr>
          <p:cNvSpPr/>
          <p:nvPr userDrawn="1"/>
        </p:nvSpPr>
        <p:spPr>
          <a:xfrm>
            <a:off x="15802178" y="448750"/>
            <a:ext cx="4302125" cy="677545"/>
          </a:xfrm>
          <a:custGeom>
            <a:avLst/>
            <a:gdLst/>
            <a:ahLst/>
            <a:cxnLst/>
            <a:rect l="l" t="t" r="r" b="b"/>
            <a:pathLst>
              <a:path w="4302125" h="677544">
                <a:moveTo>
                  <a:pt x="4301921" y="0"/>
                </a:moveTo>
                <a:lnTo>
                  <a:pt x="0" y="0"/>
                </a:lnTo>
                <a:lnTo>
                  <a:pt x="0" y="677036"/>
                </a:lnTo>
                <a:lnTo>
                  <a:pt x="4301921" y="67703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9" name="bg object 38">
            <a:extLst>
              <a:ext uri="{FF2B5EF4-FFF2-40B4-BE49-F238E27FC236}">
                <a16:creationId xmlns:a16="http://schemas.microsoft.com/office/drawing/2014/main" id="{1DCA5B81-4647-42DE-5A27-D79EF9841FC2}"/>
              </a:ext>
            </a:extLst>
          </p:cNvPr>
          <p:cNvSpPr/>
          <p:nvPr userDrawn="1"/>
        </p:nvSpPr>
        <p:spPr>
          <a:xfrm>
            <a:off x="15884111" y="10541781"/>
            <a:ext cx="4220210" cy="2306320"/>
          </a:xfrm>
          <a:custGeom>
            <a:avLst/>
            <a:gdLst/>
            <a:ahLst/>
            <a:cxnLst/>
            <a:rect l="l" t="t" r="r" b="b"/>
            <a:pathLst>
              <a:path w="4220209" h="2306320">
                <a:moveTo>
                  <a:pt x="4219988" y="815958"/>
                </a:moveTo>
                <a:lnTo>
                  <a:pt x="4191904" y="882755"/>
                </a:lnTo>
                <a:lnTo>
                  <a:pt x="4172368" y="925143"/>
                </a:lnTo>
                <a:lnTo>
                  <a:pt x="4151819" y="966953"/>
                </a:lnTo>
                <a:lnTo>
                  <a:pt x="4130274" y="1008168"/>
                </a:lnTo>
                <a:lnTo>
                  <a:pt x="4107749" y="1048774"/>
                </a:lnTo>
                <a:lnTo>
                  <a:pt x="4084260" y="1088754"/>
                </a:lnTo>
                <a:lnTo>
                  <a:pt x="4059821" y="1128093"/>
                </a:lnTo>
                <a:lnTo>
                  <a:pt x="4034449" y="1166773"/>
                </a:lnTo>
                <a:lnTo>
                  <a:pt x="4008160" y="1204781"/>
                </a:lnTo>
                <a:lnTo>
                  <a:pt x="3980969" y="1242098"/>
                </a:lnTo>
                <a:lnTo>
                  <a:pt x="3952893" y="1278711"/>
                </a:lnTo>
                <a:lnTo>
                  <a:pt x="3923946" y="1314603"/>
                </a:lnTo>
                <a:lnTo>
                  <a:pt x="3894144" y="1349757"/>
                </a:lnTo>
                <a:lnTo>
                  <a:pt x="3863505" y="1384159"/>
                </a:lnTo>
                <a:lnTo>
                  <a:pt x="3832042" y="1417791"/>
                </a:lnTo>
                <a:lnTo>
                  <a:pt x="3799772" y="1450639"/>
                </a:lnTo>
                <a:lnTo>
                  <a:pt x="3766711" y="1482687"/>
                </a:lnTo>
                <a:lnTo>
                  <a:pt x="3732874" y="1513918"/>
                </a:lnTo>
                <a:lnTo>
                  <a:pt x="3698277" y="1544317"/>
                </a:lnTo>
                <a:lnTo>
                  <a:pt x="3662937" y="1573867"/>
                </a:lnTo>
                <a:lnTo>
                  <a:pt x="3626868" y="1602554"/>
                </a:lnTo>
                <a:lnTo>
                  <a:pt x="3590086" y="1630360"/>
                </a:lnTo>
                <a:lnTo>
                  <a:pt x="3552607" y="1657271"/>
                </a:lnTo>
                <a:lnTo>
                  <a:pt x="3514448" y="1683270"/>
                </a:lnTo>
                <a:lnTo>
                  <a:pt x="3475623" y="1708341"/>
                </a:lnTo>
                <a:lnTo>
                  <a:pt x="3436148" y="1732468"/>
                </a:lnTo>
                <a:lnTo>
                  <a:pt x="3396040" y="1755637"/>
                </a:lnTo>
                <a:lnTo>
                  <a:pt x="3355314" y="1777830"/>
                </a:lnTo>
                <a:lnTo>
                  <a:pt x="3313985" y="1799031"/>
                </a:lnTo>
                <a:lnTo>
                  <a:pt x="3272070" y="1819226"/>
                </a:lnTo>
                <a:lnTo>
                  <a:pt x="3229584" y="1838398"/>
                </a:lnTo>
                <a:lnTo>
                  <a:pt x="3186543" y="1856530"/>
                </a:lnTo>
                <a:lnTo>
                  <a:pt x="3142962" y="1873609"/>
                </a:lnTo>
                <a:lnTo>
                  <a:pt x="3098858" y="1889616"/>
                </a:lnTo>
                <a:lnTo>
                  <a:pt x="3054247" y="1904537"/>
                </a:lnTo>
                <a:lnTo>
                  <a:pt x="3009143" y="1918356"/>
                </a:lnTo>
                <a:lnTo>
                  <a:pt x="2963563" y="1931056"/>
                </a:lnTo>
                <a:lnTo>
                  <a:pt x="2917522" y="1942622"/>
                </a:lnTo>
                <a:lnTo>
                  <a:pt x="2871037" y="1953038"/>
                </a:lnTo>
                <a:lnTo>
                  <a:pt x="2824123" y="1962288"/>
                </a:lnTo>
                <a:lnTo>
                  <a:pt x="2776795" y="1970357"/>
                </a:lnTo>
                <a:lnTo>
                  <a:pt x="2729070" y="1977227"/>
                </a:lnTo>
                <a:lnTo>
                  <a:pt x="2680963" y="1982885"/>
                </a:lnTo>
                <a:lnTo>
                  <a:pt x="2632491" y="1987312"/>
                </a:lnTo>
                <a:lnTo>
                  <a:pt x="2583668" y="1990494"/>
                </a:lnTo>
                <a:lnTo>
                  <a:pt x="2534510" y="1992415"/>
                </a:lnTo>
                <a:lnTo>
                  <a:pt x="2485034" y="1993059"/>
                </a:lnTo>
                <a:lnTo>
                  <a:pt x="2436764" y="1992447"/>
                </a:lnTo>
                <a:lnTo>
                  <a:pt x="2388796" y="1990619"/>
                </a:lnTo>
                <a:lnTo>
                  <a:pt x="2341143" y="1987591"/>
                </a:lnTo>
                <a:lnTo>
                  <a:pt x="2293821" y="1983377"/>
                </a:lnTo>
                <a:lnTo>
                  <a:pt x="2246844" y="1977992"/>
                </a:lnTo>
                <a:lnTo>
                  <a:pt x="2200227" y="1971450"/>
                </a:lnTo>
                <a:lnTo>
                  <a:pt x="2153985" y="1963767"/>
                </a:lnTo>
                <a:lnTo>
                  <a:pt x="2108132" y="1954958"/>
                </a:lnTo>
                <a:lnTo>
                  <a:pt x="2062683" y="1945036"/>
                </a:lnTo>
                <a:lnTo>
                  <a:pt x="2017652" y="1934016"/>
                </a:lnTo>
                <a:lnTo>
                  <a:pt x="1973055" y="1921914"/>
                </a:lnTo>
                <a:lnTo>
                  <a:pt x="1928906" y="1908745"/>
                </a:lnTo>
                <a:lnTo>
                  <a:pt x="1885220" y="1894521"/>
                </a:lnTo>
                <a:lnTo>
                  <a:pt x="1842011" y="1879260"/>
                </a:lnTo>
                <a:lnTo>
                  <a:pt x="1799294" y="1862975"/>
                </a:lnTo>
                <a:lnTo>
                  <a:pt x="1757084" y="1845680"/>
                </a:lnTo>
                <a:lnTo>
                  <a:pt x="1715395" y="1827392"/>
                </a:lnTo>
                <a:lnTo>
                  <a:pt x="1674242" y="1808123"/>
                </a:lnTo>
                <a:lnTo>
                  <a:pt x="1633641" y="1787890"/>
                </a:lnTo>
                <a:lnTo>
                  <a:pt x="1593605" y="1766707"/>
                </a:lnTo>
                <a:lnTo>
                  <a:pt x="1554149" y="1744589"/>
                </a:lnTo>
                <a:lnTo>
                  <a:pt x="1515288" y="1721550"/>
                </a:lnTo>
                <a:lnTo>
                  <a:pt x="1477037" y="1697605"/>
                </a:lnTo>
                <a:lnTo>
                  <a:pt x="1439410" y="1672769"/>
                </a:lnTo>
                <a:lnTo>
                  <a:pt x="1402422" y="1647056"/>
                </a:lnTo>
                <a:lnTo>
                  <a:pt x="1366087" y="1620482"/>
                </a:lnTo>
                <a:lnTo>
                  <a:pt x="1330421" y="1593060"/>
                </a:lnTo>
                <a:lnTo>
                  <a:pt x="1295438" y="1564807"/>
                </a:lnTo>
                <a:lnTo>
                  <a:pt x="1261153" y="1535736"/>
                </a:lnTo>
                <a:lnTo>
                  <a:pt x="1227580" y="1505862"/>
                </a:lnTo>
                <a:lnTo>
                  <a:pt x="1194734" y="1475200"/>
                </a:lnTo>
                <a:lnTo>
                  <a:pt x="1162630" y="1443764"/>
                </a:lnTo>
                <a:lnTo>
                  <a:pt x="1131283" y="1411570"/>
                </a:lnTo>
                <a:lnTo>
                  <a:pt x="1100707" y="1378633"/>
                </a:lnTo>
                <a:lnTo>
                  <a:pt x="1070916" y="1344966"/>
                </a:lnTo>
                <a:lnTo>
                  <a:pt x="1041926" y="1310584"/>
                </a:lnTo>
                <a:lnTo>
                  <a:pt x="1013752" y="1275503"/>
                </a:lnTo>
                <a:lnTo>
                  <a:pt x="986407" y="1239737"/>
                </a:lnTo>
                <a:lnTo>
                  <a:pt x="959907" y="1203301"/>
                </a:lnTo>
                <a:lnTo>
                  <a:pt x="934266" y="1166209"/>
                </a:lnTo>
                <a:lnTo>
                  <a:pt x="909500" y="1128476"/>
                </a:lnTo>
                <a:lnTo>
                  <a:pt x="885621" y="1090118"/>
                </a:lnTo>
                <a:lnTo>
                  <a:pt x="862647" y="1051148"/>
                </a:lnTo>
                <a:lnTo>
                  <a:pt x="840590" y="1011581"/>
                </a:lnTo>
                <a:lnTo>
                  <a:pt x="819466" y="971433"/>
                </a:lnTo>
                <a:lnTo>
                  <a:pt x="799290" y="930717"/>
                </a:lnTo>
                <a:lnTo>
                  <a:pt x="780076" y="889449"/>
                </a:lnTo>
                <a:lnTo>
                  <a:pt x="761838" y="847644"/>
                </a:lnTo>
                <a:lnTo>
                  <a:pt x="744592" y="805315"/>
                </a:lnTo>
                <a:lnTo>
                  <a:pt x="728352" y="762479"/>
                </a:lnTo>
                <a:lnTo>
                  <a:pt x="713133" y="719148"/>
                </a:lnTo>
                <a:lnTo>
                  <a:pt x="698950" y="675339"/>
                </a:lnTo>
                <a:lnTo>
                  <a:pt x="685817" y="631066"/>
                </a:lnTo>
                <a:lnTo>
                  <a:pt x="673749" y="586344"/>
                </a:lnTo>
                <a:lnTo>
                  <a:pt x="662760" y="541187"/>
                </a:lnTo>
                <a:lnTo>
                  <a:pt x="652866" y="495610"/>
                </a:lnTo>
                <a:lnTo>
                  <a:pt x="644081" y="449629"/>
                </a:lnTo>
                <a:lnTo>
                  <a:pt x="636419" y="403256"/>
                </a:lnTo>
                <a:lnTo>
                  <a:pt x="629896" y="356509"/>
                </a:lnTo>
                <a:lnTo>
                  <a:pt x="624526" y="309400"/>
                </a:lnTo>
                <a:lnTo>
                  <a:pt x="620324" y="261945"/>
                </a:lnTo>
                <a:lnTo>
                  <a:pt x="617304" y="214159"/>
                </a:lnTo>
                <a:lnTo>
                  <a:pt x="615482" y="166055"/>
                </a:lnTo>
                <a:lnTo>
                  <a:pt x="614871" y="117650"/>
                </a:lnTo>
                <a:lnTo>
                  <a:pt x="615459" y="88007"/>
                </a:lnTo>
                <a:lnTo>
                  <a:pt x="616934" y="58593"/>
                </a:lnTo>
                <a:lnTo>
                  <a:pt x="618864" y="29295"/>
                </a:lnTo>
                <a:lnTo>
                  <a:pt x="620818" y="0"/>
                </a:lnTo>
                <a:lnTo>
                  <a:pt x="0" y="0"/>
                </a:lnTo>
                <a:lnTo>
                  <a:pt x="0" y="112425"/>
                </a:lnTo>
                <a:lnTo>
                  <a:pt x="462" y="160786"/>
                </a:lnTo>
                <a:lnTo>
                  <a:pt x="1844" y="208927"/>
                </a:lnTo>
                <a:lnTo>
                  <a:pt x="4137" y="256837"/>
                </a:lnTo>
                <a:lnTo>
                  <a:pt x="7333" y="304511"/>
                </a:lnTo>
                <a:lnTo>
                  <a:pt x="11422" y="351938"/>
                </a:lnTo>
                <a:lnTo>
                  <a:pt x="16398" y="399110"/>
                </a:lnTo>
                <a:lnTo>
                  <a:pt x="22251" y="446020"/>
                </a:lnTo>
                <a:lnTo>
                  <a:pt x="28973" y="492658"/>
                </a:lnTo>
                <a:lnTo>
                  <a:pt x="36555" y="539017"/>
                </a:lnTo>
                <a:lnTo>
                  <a:pt x="44990" y="585087"/>
                </a:lnTo>
                <a:lnTo>
                  <a:pt x="54268" y="630861"/>
                </a:lnTo>
                <a:lnTo>
                  <a:pt x="64382" y="676330"/>
                </a:lnTo>
                <a:lnTo>
                  <a:pt x="75322" y="721485"/>
                </a:lnTo>
                <a:lnTo>
                  <a:pt x="87081" y="766318"/>
                </a:lnTo>
                <a:lnTo>
                  <a:pt x="99650" y="810822"/>
                </a:lnTo>
                <a:lnTo>
                  <a:pt x="113021" y="854986"/>
                </a:lnTo>
                <a:lnTo>
                  <a:pt x="127185" y="898803"/>
                </a:lnTo>
                <a:lnTo>
                  <a:pt x="142133" y="942265"/>
                </a:lnTo>
                <a:lnTo>
                  <a:pt x="157858" y="985363"/>
                </a:lnTo>
                <a:lnTo>
                  <a:pt x="174351" y="1028088"/>
                </a:lnTo>
                <a:lnTo>
                  <a:pt x="191604" y="1070433"/>
                </a:lnTo>
                <a:lnTo>
                  <a:pt x="209607" y="1112388"/>
                </a:lnTo>
                <a:lnTo>
                  <a:pt x="228354" y="1153946"/>
                </a:lnTo>
                <a:lnTo>
                  <a:pt x="247835" y="1195098"/>
                </a:lnTo>
                <a:lnTo>
                  <a:pt x="268041" y="1235835"/>
                </a:lnTo>
                <a:lnTo>
                  <a:pt x="288965" y="1276149"/>
                </a:lnTo>
                <a:lnTo>
                  <a:pt x="310599" y="1316032"/>
                </a:lnTo>
                <a:lnTo>
                  <a:pt x="332932" y="1355475"/>
                </a:lnTo>
                <a:lnTo>
                  <a:pt x="355959" y="1394471"/>
                </a:lnTo>
                <a:lnTo>
                  <a:pt x="379668" y="1433009"/>
                </a:lnTo>
                <a:lnTo>
                  <a:pt x="404054" y="1471083"/>
                </a:lnTo>
                <a:lnTo>
                  <a:pt x="429106" y="1508683"/>
                </a:lnTo>
                <a:lnTo>
                  <a:pt x="454817" y="1545801"/>
                </a:lnTo>
                <a:lnTo>
                  <a:pt x="481178" y="1582429"/>
                </a:lnTo>
                <a:lnTo>
                  <a:pt x="508181" y="1618559"/>
                </a:lnTo>
                <a:lnTo>
                  <a:pt x="535817" y="1654181"/>
                </a:lnTo>
                <a:lnTo>
                  <a:pt x="564078" y="1689288"/>
                </a:lnTo>
                <a:lnTo>
                  <a:pt x="592956" y="1723871"/>
                </a:lnTo>
                <a:lnTo>
                  <a:pt x="622441" y="1757922"/>
                </a:lnTo>
                <a:lnTo>
                  <a:pt x="652527" y="1791432"/>
                </a:lnTo>
                <a:lnTo>
                  <a:pt x="683203" y="1824392"/>
                </a:lnTo>
                <a:lnTo>
                  <a:pt x="714463" y="1856796"/>
                </a:lnTo>
                <a:lnTo>
                  <a:pt x="746297" y="1888633"/>
                </a:lnTo>
                <a:lnTo>
                  <a:pt x="778697" y="1919895"/>
                </a:lnTo>
                <a:lnTo>
                  <a:pt x="811654" y="1950575"/>
                </a:lnTo>
                <a:lnTo>
                  <a:pt x="845161" y="1980664"/>
                </a:lnTo>
                <a:lnTo>
                  <a:pt x="879208" y="2010153"/>
                </a:lnTo>
                <a:lnTo>
                  <a:pt x="913788" y="2039033"/>
                </a:lnTo>
                <a:lnTo>
                  <a:pt x="948892" y="2067298"/>
                </a:lnTo>
                <a:lnTo>
                  <a:pt x="984511" y="2094937"/>
                </a:lnTo>
                <a:lnTo>
                  <a:pt x="1020637" y="2121943"/>
                </a:lnTo>
                <a:lnTo>
                  <a:pt x="1057262" y="2148307"/>
                </a:lnTo>
                <a:lnTo>
                  <a:pt x="1094378" y="2174021"/>
                </a:lnTo>
                <a:lnTo>
                  <a:pt x="1131975" y="2199077"/>
                </a:lnTo>
                <a:lnTo>
                  <a:pt x="1170046" y="2223465"/>
                </a:lnTo>
                <a:lnTo>
                  <a:pt x="1208582" y="2247178"/>
                </a:lnTo>
                <a:lnTo>
                  <a:pt x="1247574" y="2270207"/>
                </a:lnTo>
                <a:lnTo>
                  <a:pt x="1287014" y="2292544"/>
                </a:lnTo>
                <a:lnTo>
                  <a:pt x="1311807" y="2305994"/>
                </a:lnTo>
              </a:path>
              <a:path w="4220209" h="2306320">
                <a:moveTo>
                  <a:pt x="3669507" y="2305994"/>
                </a:moveTo>
                <a:lnTo>
                  <a:pt x="3733746" y="2270207"/>
                </a:lnTo>
                <a:lnTo>
                  <a:pt x="3772742" y="2247178"/>
                </a:lnTo>
                <a:lnTo>
                  <a:pt x="3811281" y="2223465"/>
                </a:lnTo>
                <a:lnTo>
                  <a:pt x="3849355" y="2199077"/>
                </a:lnTo>
                <a:lnTo>
                  <a:pt x="3886955" y="2174021"/>
                </a:lnTo>
                <a:lnTo>
                  <a:pt x="3924074" y="2148307"/>
                </a:lnTo>
                <a:lnTo>
                  <a:pt x="3960702" y="2121943"/>
                </a:lnTo>
                <a:lnTo>
                  <a:pt x="3996831" y="2094937"/>
                </a:lnTo>
                <a:lnTo>
                  <a:pt x="4032453" y="2067298"/>
                </a:lnTo>
                <a:lnTo>
                  <a:pt x="4067559" y="2039033"/>
                </a:lnTo>
                <a:lnTo>
                  <a:pt x="4102141" y="2010153"/>
                </a:lnTo>
                <a:lnTo>
                  <a:pt x="4136191" y="1980664"/>
                </a:lnTo>
                <a:lnTo>
                  <a:pt x="4169700" y="1950575"/>
                </a:lnTo>
                <a:lnTo>
                  <a:pt x="4202660" y="1919895"/>
                </a:lnTo>
                <a:lnTo>
                  <a:pt x="4219988" y="190317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30" name="Holder 6">
            <a:extLst>
              <a:ext uri="{FF2B5EF4-FFF2-40B4-BE49-F238E27FC236}">
                <a16:creationId xmlns:a16="http://schemas.microsoft.com/office/drawing/2014/main" id="{6D6DB1AC-BF64-C292-1732-D8C74FA1239A}"/>
              </a:ext>
            </a:extLst>
          </p:cNvPr>
          <p:cNvSpPr txBox="1">
            <a:spLocks/>
          </p:cNvSpPr>
          <p:nvPr userDrawn="1"/>
        </p:nvSpPr>
        <p:spPr>
          <a:xfrm>
            <a:off x="1689596" y="12106784"/>
            <a:ext cx="299085" cy="24828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1450" b="0" i="0" kern="1200">
                <a:solidFill>
                  <a:srgbClr val="A78A4C"/>
                </a:solidFill>
                <a:latin typeface="HelveticaNeue-Light"/>
                <a:ea typeface="+mn-ea"/>
                <a:cs typeface="HelveticaNeue-Ligh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85"/>
              </a:spcBef>
            </a:pPr>
            <a:fld id="{81D60167-4931-47E6-BA6A-407CBD079E47}" type="slidenum">
              <a:rPr lang="en-US" spc="15" smtClean="0"/>
              <a:pPr marL="38100">
                <a:spcBef>
                  <a:spcPts val="85"/>
                </a:spcBef>
              </a:pPr>
              <a:t>‹#›</a:t>
            </a:fld>
            <a:endParaRPr lang="en-US" spc="15" dirty="0"/>
          </a:p>
        </p:txBody>
      </p:sp>
    </p:spTree>
    <p:extLst>
      <p:ext uri="{BB962C8B-B14F-4D97-AF65-F5344CB8AC3E}">
        <p14:creationId xmlns:p14="http://schemas.microsoft.com/office/powerpoint/2010/main" val="38146959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F47D03-739D-D4DC-FFAA-BA72C962E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1112" y="1399683"/>
            <a:ext cx="13927338" cy="923330"/>
          </a:xfrm>
        </p:spPr>
        <p:txBody>
          <a:bodyPr/>
          <a:lstStyle>
            <a:lvl1pPr>
              <a:defRPr sz="60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F0C7E04-8B71-FEC6-1C1A-A3CC7CF6E3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JUSTICE WITHOUT LITIGATION II - ECONOMIC PART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A192B04-9983-C054-884B-977902B38BB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12th March 2025 | Rom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5D6F7-F4AB-1D2D-31D3-0558EEB8F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38100">
              <a:lnSpc>
                <a:spcPct val="100000"/>
              </a:lnSpc>
              <a:spcBef>
                <a:spcPts val="85"/>
              </a:spcBef>
            </a:pPr>
            <a:fld id="{81D60167-4931-47E6-BA6A-407CBD079E47}" type="slidenum">
              <a:rPr lang="de-DE" spc="15" smtClean="0"/>
              <a:t>‹#›</a:t>
            </a:fld>
            <a:endParaRPr lang="de-DE" spc="15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0F1B498-13B4-152D-276E-BD169D0660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69726" y="4417695"/>
            <a:ext cx="16119248" cy="553998"/>
          </a:xfrm>
        </p:spPr>
        <p:txBody>
          <a:bodyPr/>
          <a:lstStyle>
            <a:lvl1pPr>
              <a:defRPr sz="3600" b="1">
                <a:solidFill>
                  <a:schemeClr val="accent1"/>
                </a:solidFill>
                <a:latin typeface="+mj-lt"/>
              </a:defRPr>
            </a:lvl1pPr>
            <a:lvl2pPr>
              <a:defRPr sz="2900"/>
            </a:lvl2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8" name="object 23">
            <a:extLst>
              <a:ext uri="{FF2B5EF4-FFF2-40B4-BE49-F238E27FC236}">
                <a16:creationId xmlns:a16="http://schemas.microsoft.com/office/drawing/2014/main" id="{BFD4C767-559D-B761-6434-849A19035F02}"/>
              </a:ext>
            </a:extLst>
          </p:cNvPr>
          <p:cNvSpPr/>
          <p:nvPr userDrawn="1"/>
        </p:nvSpPr>
        <p:spPr>
          <a:xfrm>
            <a:off x="497344" y="0"/>
            <a:ext cx="630555" cy="4417695"/>
          </a:xfrm>
          <a:custGeom>
            <a:avLst/>
            <a:gdLst/>
            <a:ahLst/>
            <a:cxnLst/>
            <a:rect l="l" t="t" r="r" b="b"/>
            <a:pathLst>
              <a:path w="630555" h="4417695">
                <a:moveTo>
                  <a:pt x="630242" y="4083639"/>
                </a:moveTo>
                <a:lnTo>
                  <a:pt x="630242" y="4073744"/>
                </a:lnTo>
                <a:lnTo>
                  <a:pt x="630106" y="4073859"/>
                </a:lnTo>
                <a:lnTo>
                  <a:pt x="629855" y="4074090"/>
                </a:lnTo>
                <a:lnTo>
                  <a:pt x="629855" y="0"/>
                </a:lnTo>
              </a:path>
              <a:path w="630555" h="4417695">
                <a:moveTo>
                  <a:pt x="2434" y="0"/>
                </a:moveTo>
                <a:lnTo>
                  <a:pt x="0" y="2699357"/>
                </a:lnTo>
                <a:lnTo>
                  <a:pt x="0" y="4417388"/>
                </a:lnTo>
                <a:lnTo>
                  <a:pt x="49735" y="4401593"/>
                </a:lnTo>
                <a:lnTo>
                  <a:pt x="98845" y="4384492"/>
                </a:lnTo>
                <a:lnTo>
                  <a:pt x="147304" y="4366102"/>
                </a:lnTo>
                <a:lnTo>
                  <a:pt x="195086" y="4346440"/>
                </a:lnTo>
                <a:lnTo>
                  <a:pt x="242168" y="4325523"/>
                </a:lnTo>
                <a:lnTo>
                  <a:pt x="288524" y="4303369"/>
                </a:lnTo>
                <a:lnTo>
                  <a:pt x="334129" y="4279994"/>
                </a:lnTo>
                <a:lnTo>
                  <a:pt x="378959" y="4255416"/>
                </a:lnTo>
                <a:lnTo>
                  <a:pt x="422987" y="4229652"/>
                </a:lnTo>
                <a:lnTo>
                  <a:pt x="466190" y="4202719"/>
                </a:lnTo>
                <a:lnTo>
                  <a:pt x="508541" y="4174634"/>
                </a:lnTo>
                <a:lnTo>
                  <a:pt x="550017" y="4145414"/>
                </a:lnTo>
                <a:lnTo>
                  <a:pt x="590593" y="4115077"/>
                </a:lnTo>
                <a:lnTo>
                  <a:pt x="630242" y="4083639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40160428-4DC4-8B8E-F17E-20997057AF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69726" y="5666672"/>
            <a:ext cx="16119248" cy="1338828"/>
          </a:xfrm>
        </p:spPr>
        <p:txBody>
          <a:bodyPr/>
          <a:lstStyle>
            <a:lvl1pPr>
              <a:defRPr sz="2900" b="0">
                <a:solidFill>
                  <a:schemeClr val="tx1"/>
                </a:solidFill>
                <a:latin typeface="+mj-lt"/>
              </a:defRPr>
            </a:lvl1pPr>
            <a:lvl2pPr>
              <a:defRPr sz="2900"/>
            </a:lvl2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AC54CAD8-3E23-BA49-24F6-C9036916EB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12069" y="2633271"/>
            <a:ext cx="13833061" cy="769441"/>
          </a:xfrm>
        </p:spPr>
        <p:txBody>
          <a:bodyPr/>
          <a:lstStyle>
            <a:lvl1pPr>
              <a:defRPr sz="50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4000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6000">
                <a:latin typeface="+mj-lt"/>
              </a:defRPr>
            </a:lvl3pPr>
            <a:lvl4pPr>
              <a:defRPr sz="6000">
                <a:latin typeface="+mj-lt"/>
              </a:defRPr>
            </a:lvl4pPr>
            <a:lvl5pPr>
              <a:defRPr sz="6000">
                <a:latin typeface="+mj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C95E290B-4995-26B4-E1AB-D66996D89C47}"/>
              </a:ext>
            </a:extLst>
          </p:cNvPr>
          <p:cNvSpPr/>
          <p:nvPr userDrawn="1"/>
        </p:nvSpPr>
        <p:spPr>
          <a:xfrm>
            <a:off x="17231199" y="834965"/>
            <a:ext cx="587375" cy="579755"/>
          </a:xfrm>
          <a:custGeom>
            <a:avLst/>
            <a:gdLst/>
            <a:ahLst/>
            <a:cxnLst/>
            <a:rect l="l" t="t" r="r" b="b"/>
            <a:pathLst>
              <a:path w="587375" h="579755">
                <a:moveTo>
                  <a:pt x="587259" y="0"/>
                </a:moveTo>
                <a:lnTo>
                  <a:pt x="513460" y="0"/>
                </a:lnTo>
                <a:lnTo>
                  <a:pt x="513460" y="285687"/>
                </a:lnTo>
                <a:lnTo>
                  <a:pt x="507898" y="334898"/>
                </a:lnTo>
                <a:lnTo>
                  <a:pt x="492045" y="380220"/>
                </a:lnTo>
                <a:lnTo>
                  <a:pt x="467148" y="420422"/>
                </a:lnTo>
                <a:lnTo>
                  <a:pt x="434457" y="454279"/>
                </a:lnTo>
                <a:lnTo>
                  <a:pt x="434457" y="0"/>
                </a:lnTo>
                <a:lnTo>
                  <a:pt x="358407" y="0"/>
                </a:lnTo>
                <a:lnTo>
                  <a:pt x="358407" y="495754"/>
                </a:lnTo>
                <a:lnTo>
                  <a:pt x="342810" y="499947"/>
                </a:lnTo>
                <a:lnTo>
                  <a:pt x="326785" y="503005"/>
                </a:lnTo>
                <a:lnTo>
                  <a:pt x="310376" y="504877"/>
                </a:lnTo>
                <a:lnTo>
                  <a:pt x="293624" y="505513"/>
                </a:lnTo>
                <a:lnTo>
                  <a:pt x="249374" y="501039"/>
                </a:lnTo>
                <a:lnTo>
                  <a:pt x="208134" y="488212"/>
                </a:lnTo>
                <a:lnTo>
                  <a:pt x="170795" y="467921"/>
                </a:lnTo>
                <a:lnTo>
                  <a:pt x="138248" y="441058"/>
                </a:lnTo>
                <a:lnTo>
                  <a:pt x="111383" y="408513"/>
                </a:lnTo>
                <a:lnTo>
                  <a:pt x="91090" y="371175"/>
                </a:lnTo>
                <a:lnTo>
                  <a:pt x="78262" y="329937"/>
                </a:lnTo>
                <a:lnTo>
                  <a:pt x="73788" y="285687"/>
                </a:lnTo>
                <a:lnTo>
                  <a:pt x="73788" y="272431"/>
                </a:lnTo>
                <a:lnTo>
                  <a:pt x="0" y="272431"/>
                </a:lnTo>
                <a:lnTo>
                  <a:pt x="0" y="285687"/>
                </a:lnTo>
                <a:lnTo>
                  <a:pt x="3850" y="333251"/>
                </a:lnTo>
                <a:lnTo>
                  <a:pt x="14995" y="378394"/>
                </a:lnTo>
                <a:lnTo>
                  <a:pt x="32825" y="420508"/>
                </a:lnTo>
                <a:lnTo>
                  <a:pt x="56731" y="458984"/>
                </a:lnTo>
                <a:lnTo>
                  <a:pt x="86103" y="493212"/>
                </a:lnTo>
                <a:lnTo>
                  <a:pt x="120332" y="522583"/>
                </a:lnTo>
                <a:lnTo>
                  <a:pt x="158808" y="546488"/>
                </a:lnTo>
                <a:lnTo>
                  <a:pt x="200921" y="564317"/>
                </a:lnTo>
                <a:lnTo>
                  <a:pt x="246063" y="575462"/>
                </a:lnTo>
                <a:lnTo>
                  <a:pt x="293624" y="579312"/>
                </a:lnTo>
                <a:lnTo>
                  <a:pt x="341190" y="575462"/>
                </a:lnTo>
                <a:lnTo>
                  <a:pt x="386336" y="564317"/>
                </a:lnTo>
                <a:lnTo>
                  <a:pt x="428452" y="546488"/>
                </a:lnTo>
                <a:lnTo>
                  <a:pt x="466929" y="522583"/>
                </a:lnTo>
                <a:lnTo>
                  <a:pt x="501158" y="493212"/>
                </a:lnTo>
                <a:lnTo>
                  <a:pt x="530530" y="458984"/>
                </a:lnTo>
                <a:lnTo>
                  <a:pt x="554435" y="420508"/>
                </a:lnTo>
                <a:lnTo>
                  <a:pt x="572265" y="378394"/>
                </a:lnTo>
                <a:lnTo>
                  <a:pt x="583409" y="333251"/>
                </a:lnTo>
                <a:lnTo>
                  <a:pt x="587259" y="285687"/>
                </a:lnTo>
                <a:lnTo>
                  <a:pt x="587259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0" name="object 3">
            <a:extLst>
              <a:ext uri="{FF2B5EF4-FFF2-40B4-BE49-F238E27FC236}">
                <a16:creationId xmlns:a16="http://schemas.microsoft.com/office/drawing/2014/main" id="{39D36023-92D1-CC27-128C-74CB4E5C92BC}"/>
              </a:ext>
            </a:extLst>
          </p:cNvPr>
          <p:cNvGrpSpPr/>
          <p:nvPr userDrawn="1"/>
        </p:nvGrpSpPr>
        <p:grpSpPr>
          <a:xfrm>
            <a:off x="18055059" y="680607"/>
            <a:ext cx="1011555" cy="467995"/>
            <a:chOff x="18055059" y="680607"/>
            <a:chExt cx="1011555" cy="467995"/>
          </a:xfrm>
        </p:grpSpPr>
        <p:pic>
          <p:nvPicPr>
            <p:cNvPr id="31" name="object 4">
              <a:extLst>
                <a:ext uri="{FF2B5EF4-FFF2-40B4-BE49-F238E27FC236}">
                  <a16:creationId xmlns:a16="http://schemas.microsoft.com/office/drawing/2014/main" id="{B96F4D7B-2C8B-3ECF-1DBD-31D08F8325D9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065731" y="683266"/>
              <a:ext cx="91557" cy="243814"/>
            </a:xfrm>
            <a:prstGeom prst="rect">
              <a:avLst/>
            </a:prstGeom>
          </p:spPr>
        </p:pic>
        <p:pic>
          <p:nvPicPr>
            <p:cNvPr id="33" name="object 5">
              <a:extLst>
                <a:ext uri="{FF2B5EF4-FFF2-40B4-BE49-F238E27FC236}">
                  <a16:creationId xmlns:a16="http://schemas.microsoft.com/office/drawing/2014/main" id="{36E79283-2D89-D730-9BB2-96BE68290BE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8196176" y="683267"/>
              <a:ext cx="157984" cy="188088"/>
            </a:xfrm>
            <a:prstGeom prst="rect">
              <a:avLst/>
            </a:prstGeom>
          </p:spPr>
        </p:pic>
        <p:pic>
          <p:nvPicPr>
            <p:cNvPr id="34" name="object 6">
              <a:extLst>
                <a:ext uri="{FF2B5EF4-FFF2-40B4-BE49-F238E27FC236}">
                  <a16:creationId xmlns:a16="http://schemas.microsoft.com/office/drawing/2014/main" id="{C8C381A1-7861-75D4-CB8B-83F5C2B80A9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8384343" y="680607"/>
              <a:ext cx="284270" cy="190758"/>
            </a:xfrm>
            <a:prstGeom prst="rect">
              <a:avLst/>
            </a:prstGeom>
          </p:spPr>
        </p:pic>
        <p:sp>
          <p:nvSpPr>
            <p:cNvPr id="36" name="object 7">
              <a:extLst>
                <a:ext uri="{FF2B5EF4-FFF2-40B4-BE49-F238E27FC236}">
                  <a16:creationId xmlns:a16="http://schemas.microsoft.com/office/drawing/2014/main" id="{DC275B3A-BE17-82A4-D2BE-2CF73D4B4341}"/>
                </a:ext>
              </a:extLst>
            </p:cNvPr>
            <p:cNvSpPr/>
            <p:nvPr/>
          </p:nvSpPr>
          <p:spPr>
            <a:xfrm>
              <a:off x="18695001" y="683267"/>
              <a:ext cx="50165" cy="186055"/>
            </a:xfrm>
            <a:custGeom>
              <a:avLst/>
              <a:gdLst/>
              <a:ahLst/>
              <a:cxnLst/>
              <a:rect l="l" t="t" r="r" b="b"/>
              <a:pathLst>
                <a:path w="50165" h="186055">
                  <a:moveTo>
                    <a:pt x="50134" y="0"/>
                  </a:moveTo>
                  <a:lnTo>
                    <a:pt x="0" y="0"/>
                  </a:lnTo>
                  <a:lnTo>
                    <a:pt x="0" y="185554"/>
                  </a:lnTo>
                  <a:lnTo>
                    <a:pt x="50134" y="185554"/>
                  </a:lnTo>
                  <a:lnTo>
                    <a:pt x="50134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7" name="object 8">
              <a:extLst>
                <a:ext uri="{FF2B5EF4-FFF2-40B4-BE49-F238E27FC236}">
                  <a16:creationId xmlns:a16="http://schemas.microsoft.com/office/drawing/2014/main" id="{5F26DD9A-C462-23A1-CF81-7DF5C9D3035C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778226" y="680607"/>
              <a:ext cx="146738" cy="190758"/>
            </a:xfrm>
            <a:prstGeom prst="rect">
              <a:avLst/>
            </a:prstGeom>
          </p:spPr>
        </p:pic>
        <p:sp>
          <p:nvSpPr>
            <p:cNvPr id="38" name="object 9">
              <a:extLst>
                <a:ext uri="{FF2B5EF4-FFF2-40B4-BE49-F238E27FC236}">
                  <a16:creationId xmlns:a16="http://schemas.microsoft.com/office/drawing/2014/main" id="{C6813756-3BA2-3CDE-E7BE-E86CBAA309BB}"/>
                </a:ext>
              </a:extLst>
            </p:cNvPr>
            <p:cNvSpPr/>
            <p:nvPr/>
          </p:nvSpPr>
          <p:spPr>
            <a:xfrm>
              <a:off x="18952884" y="683411"/>
              <a:ext cx="109855" cy="185420"/>
            </a:xfrm>
            <a:custGeom>
              <a:avLst/>
              <a:gdLst/>
              <a:ahLst/>
              <a:cxnLst/>
              <a:rect l="l" t="t" r="r" b="b"/>
              <a:pathLst>
                <a:path w="109855" h="185419">
                  <a:moveTo>
                    <a:pt x="109601" y="0"/>
                  </a:moveTo>
                  <a:lnTo>
                    <a:pt x="0" y="0"/>
                  </a:lnTo>
                  <a:lnTo>
                    <a:pt x="0" y="40640"/>
                  </a:lnTo>
                  <a:lnTo>
                    <a:pt x="0" y="69850"/>
                  </a:lnTo>
                  <a:lnTo>
                    <a:pt x="0" y="109220"/>
                  </a:lnTo>
                  <a:lnTo>
                    <a:pt x="0" y="144780"/>
                  </a:lnTo>
                  <a:lnTo>
                    <a:pt x="0" y="185420"/>
                  </a:lnTo>
                  <a:lnTo>
                    <a:pt x="109601" y="185420"/>
                  </a:lnTo>
                  <a:lnTo>
                    <a:pt x="109601" y="144780"/>
                  </a:lnTo>
                  <a:lnTo>
                    <a:pt x="49885" y="144780"/>
                  </a:lnTo>
                  <a:lnTo>
                    <a:pt x="49885" y="109220"/>
                  </a:lnTo>
                  <a:lnTo>
                    <a:pt x="105181" y="109220"/>
                  </a:lnTo>
                  <a:lnTo>
                    <a:pt x="105181" y="69850"/>
                  </a:lnTo>
                  <a:lnTo>
                    <a:pt x="49885" y="69850"/>
                  </a:lnTo>
                  <a:lnTo>
                    <a:pt x="49885" y="40640"/>
                  </a:lnTo>
                  <a:lnTo>
                    <a:pt x="109601" y="40640"/>
                  </a:lnTo>
                  <a:lnTo>
                    <a:pt x="109601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9" name="object 10">
              <a:extLst>
                <a:ext uri="{FF2B5EF4-FFF2-40B4-BE49-F238E27FC236}">
                  <a16:creationId xmlns:a16="http://schemas.microsoft.com/office/drawing/2014/main" id="{8ACB803E-858B-3220-CD00-D831082CACDE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055059" y="965618"/>
              <a:ext cx="235657" cy="180287"/>
            </a:xfrm>
            <a:prstGeom prst="rect">
              <a:avLst/>
            </a:prstGeom>
          </p:spPr>
        </p:pic>
        <p:sp>
          <p:nvSpPr>
            <p:cNvPr id="40" name="object 11">
              <a:extLst>
                <a:ext uri="{FF2B5EF4-FFF2-40B4-BE49-F238E27FC236}">
                  <a16:creationId xmlns:a16="http://schemas.microsoft.com/office/drawing/2014/main" id="{4D897062-DA84-8365-7C9B-5257B8281F03}"/>
                </a:ext>
              </a:extLst>
            </p:cNvPr>
            <p:cNvSpPr/>
            <p:nvPr/>
          </p:nvSpPr>
          <p:spPr>
            <a:xfrm>
              <a:off x="18316233" y="965566"/>
              <a:ext cx="362585" cy="180340"/>
            </a:xfrm>
            <a:custGeom>
              <a:avLst/>
              <a:gdLst/>
              <a:ahLst/>
              <a:cxnLst/>
              <a:rect l="l" t="t" r="r" b="b"/>
              <a:pathLst>
                <a:path w="362584" h="180340">
                  <a:moveTo>
                    <a:pt x="29476" y="50"/>
                  </a:moveTo>
                  <a:lnTo>
                    <a:pt x="0" y="50"/>
                  </a:lnTo>
                  <a:lnTo>
                    <a:pt x="0" y="180340"/>
                  </a:lnTo>
                  <a:lnTo>
                    <a:pt x="29476" y="180340"/>
                  </a:lnTo>
                  <a:lnTo>
                    <a:pt x="29476" y="50"/>
                  </a:lnTo>
                  <a:close/>
                </a:path>
                <a:path w="362584" h="180340">
                  <a:moveTo>
                    <a:pt x="192379" y="0"/>
                  </a:moveTo>
                  <a:lnTo>
                    <a:pt x="56845" y="0"/>
                  </a:lnTo>
                  <a:lnTo>
                    <a:pt x="56845" y="25400"/>
                  </a:lnTo>
                  <a:lnTo>
                    <a:pt x="109880" y="25400"/>
                  </a:lnTo>
                  <a:lnTo>
                    <a:pt x="109880" y="180340"/>
                  </a:lnTo>
                  <a:lnTo>
                    <a:pt x="139344" y="180340"/>
                  </a:lnTo>
                  <a:lnTo>
                    <a:pt x="139344" y="25400"/>
                  </a:lnTo>
                  <a:lnTo>
                    <a:pt x="192379" y="25400"/>
                  </a:lnTo>
                  <a:lnTo>
                    <a:pt x="192379" y="0"/>
                  </a:lnTo>
                  <a:close/>
                </a:path>
                <a:path w="362584" h="180340">
                  <a:moveTo>
                    <a:pt x="362191" y="0"/>
                  </a:moveTo>
                  <a:lnTo>
                    <a:pt x="332587" y="0"/>
                  </a:lnTo>
                  <a:lnTo>
                    <a:pt x="332587" y="73660"/>
                  </a:lnTo>
                  <a:lnTo>
                    <a:pt x="249478" y="73660"/>
                  </a:lnTo>
                  <a:lnTo>
                    <a:pt x="249478" y="0"/>
                  </a:lnTo>
                  <a:lnTo>
                    <a:pt x="220002" y="0"/>
                  </a:lnTo>
                  <a:lnTo>
                    <a:pt x="220002" y="73660"/>
                  </a:lnTo>
                  <a:lnTo>
                    <a:pt x="220002" y="99060"/>
                  </a:lnTo>
                  <a:lnTo>
                    <a:pt x="220002" y="180340"/>
                  </a:lnTo>
                  <a:lnTo>
                    <a:pt x="249478" y="180340"/>
                  </a:lnTo>
                  <a:lnTo>
                    <a:pt x="249478" y="99060"/>
                  </a:lnTo>
                  <a:lnTo>
                    <a:pt x="332587" y="99060"/>
                  </a:lnTo>
                  <a:lnTo>
                    <a:pt x="332587" y="180340"/>
                  </a:lnTo>
                  <a:lnTo>
                    <a:pt x="362191" y="180340"/>
                  </a:lnTo>
                  <a:lnTo>
                    <a:pt x="362191" y="99060"/>
                  </a:lnTo>
                  <a:lnTo>
                    <a:pt x="362191" y="73660"/>
                  </a:lnTo>
                  <a:lnTo>
                    <a:pt x="362191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1" name="object 12">
              <a:extLst>
                <a:ext uri="{FF2B5EF4-FFF2-40B4-BE49-F238E27FC236}">
                  <a16:creationId xmlns:a16="http://schemas.microsoft.com/office/drawing/2014/main" id="{F709657D-E792-3EFA-7DA8-3BFCFF5B1D70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8717022" y="962781"/>
              <a:ext cx="168947" cy="185596"/>
            </a:xfrm>
            <a:prstGeom prst="rect">
              <a:avLst/>
            </a:prstGeom>
          </p:spPr>
        </p:pic>
        <p:pic>
          <p:nvPicPr>
            <p:cNvPr id="42" name="object 13">
              <a:extLst>
                <a:ext uri="{FF2B5EF4-FFF2-40B4-BE49-F238E27FC236}">
                  <a16:creationId xmlns:a16="http://schemas.microsoft.com/office/drawing/2014/main" id="{49272361-856A-C8DF-4B7F-378C5FDCEEA5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8923085" y="965618"/>
              <a:ext cx="142927" cy="182758"/>
            </a:xfrm>
            <a:prstGeom prst="rect">
              <a:avLst/>
            </a:prstGeom>
          </p:spPr>
        </p:pic>
      </p:grpSp>
      <p:sp>
        <p:nvSpPr>
          <p:cNvPr id="43" name="object 14">
            <a:extLst>
              <a:ext uri="{FF2B5EF4-FFF2-40B4-BE49-F238E27FC236}">
                <a16:creationId xmlns:a16="http://schemas.microsoft.com/office/drawing/2014/main" id="{C4E1AAA1-E186-48C0-2DEE-125DEF2DDC3B}"/>
              </a:ext>
            </a:extLst>
          </p:cNvPr>
          <p:cNvSpPr/>
          <p:nvPr userDrawn="1"/>
        </p:nvSpPr>
        <p:spPr>
          <a:xfrm>
            <a:off x="19091898" y="965566"/>
            <a:ext cx="135890" cy="180340"/>
          </a:xfrm>
          <a:custGeom>
            <a:avLst/>
            <a:gdLst/>
            <a:ahLst/>
            <a:cxnLst/>
            <a:rect l="l" t="t" r="r" b="b"/>
            <a:pathLst>
              <a:path w="135890" h="180340">
                <a:moveTo>
                  <a:pt x="135534" y="0"/>
                </a:moveTo>
                <a:lnTo>
                  <a:pt x="0" y="0"/>
                </a:lnTo>
                <a:lnTo>
                  <a:pt x="0" y="25400"/>
                </a:lnTo>
                <a:lnTo>
                  <a:pt x="53022" y="25400"/>
                </a:lnTo>
                <a:lnTo>
                  <a:pt x="53022" y="180340"/>
                </a:lnTo>
                <a:lnTo>
                  <a:pt x="82499" y="180340"/>
                </a:lnTo>
                <a:lnTo>
                  <a:pt x="82499" y="25400"/>
                </a:lnTo>
                <a:lnTo>
                  <a:pt x="135534" y="25400"/>
                </a:lnTo>
                <a:lnTo>
                  <a:pt x="1355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15">
            <a:extLst>
              <a:ext uri="{FF2B5EF4-FFF2-40B4-BE49-F238E27FC236}">
                <a16:creationId xmlns:a16="http://schemas.microsoft.com/office/drawing/2014/main" id="{500D737D-8389-96A1-EBD8-3DE6285C7B9E}"/>
              </a:ext>
            </a:extLst>
          </p:cNvPr>
          <p:cNvSpPr/>
          <p:nvPr userDrawn="1"/>
        </p:nvSpPr>
        <p:spPr>
          <a:xfrm>
            <a:off x="18065725" y="1229409"/>
            <a:ext cx="142875" cy="180975"/>
          </a:xfrm>
          <a:custGeom>
            <a:avLst/>
            <a:gdLst/>
            <a:ahLst/>
            <a:cxnLst/>
            <a:rect l="l" t="t" r="r" b="b"/>
            <a:pathLst>
              <a:path w="142875" h="180975">
                <a:moveTo>
                  <a:pt x="98767" y="169291"/>
                </a:moveTo>
                <a:lnTo>
                  <a:pt x="12598" y="169291"/>
                </a:lnTo>
                <a:lnTo>
                  <a:pt x="12598" y="381"/>
                </a:lnTo>
                <a:lnTo>
                  <a:pt x="0" y="381"/>
                </a:lnTo>
                <a:lnTo>
                  <a:pt x="0" y="169291"/>
                </a:lnTo>
                <a:lnTo>
                  <a:pt x="0" y="180721"/>
                </a:lnTo>
                <a:lnTo>
                  <a:pt x="98767" y="180721"/>
                </a:lnTo>
                <a:lnTo>
                  <a:pt x="98767" y="169291"/>
                </a:lnTo>
                <a:close/>
              </a:path>
              <a:path w="142875" h="180975">
                <a:moveTo>
                  <a:pt x="142532" y="0"/>
                </a:moveTo>
                <a:lnTo>
                  <a:pt x="129921" y="0"/>
                </a:lnTo>
                <a:lnTo>
                  <a:pt x="129921" y="180733"/>
                </a:lnTo>
                <a:lnTo>
                  <a:pt x="142532" y="180733"/>
                </a:lnTo>
                <a:lnTo>
                  <a:pt x="142532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5" name="object 16">
            <a:extLst>
              <a:ext uri="{FF2B5EF4-FFF2-40B4-BE49-F238E27FC236}">
                <a16:creationId xmlns:a16="http://schemas.microsoft.com/office/drawing/2014/main" id="{E3B5CE32-46A8-6050-B543-E4B22E52131F}"/>
              </a:ext>
            </a:extLst>
          </p:cNvPr>
          <p:cNvGrpSpPr/>
          <p:nvPr userDrawn="1"/>
        </p:nvGrpSpPr>
        <p:grpSpPr>
          <a:xfrm>
            <a:off x="18235083" y="1226554"/>
            <a:ext cx="1077595" cy="186055"/>
            <a:chOff x="18235083" y="1226554"/>
            <a:chExt cx="1077595" cy="186055"/>
          </a:xfrm>
        </p:grpSpPr>
        <p:sp>
          <p:nvSpPr>
            <p:cNvPr id="46" name="object 17">
              <a:extLst>
                <a:ext uri="{FF2B5EF4-FFF2-40B4-BE49-F238E27FC236}">
                  <a16:creationId xmlns:a16="http://schemas.microsoft.com/office/drawing/2014/main" id="{ED37C4F7-23A6-DF12-D89D-CDCAA2559D3F}"/>
                </a:ext>
              </a:extLst>
            </p:cNvPr>
            <p:cNvSpPr/>
            <p:nvPr/>
          </p:nvSpPr>
          <p:spPr>
            <a:xfrm>
              <a:off x="18235080" y="1229409"/>
              <a:ext cx="170180" cy="180975"/>
            </a:xfrm>
            <a:custGeom>
              <a:avLst/>
              <a:gdLst/>
              <a:ahLst/>
              <a:cxnLst/>
              <a:rect l="l" t="t" r="r" b="b"/>
              <a:pathLst>
                <a:path w="170180" h="180975">
                  <a:moveTo>
                    <a:pt x="130175" y="381"/>
                  </a:moveTo>
                  <a:lnTo>
                    <a:pt x="0" y="381"/>
                  </a:lnTo>
                  <a:lnTo>
                    <a:pt x="0" y="11811"/>
                  </a:lnTo>
                  <a:lnTo>
                    <a:pt x="58724" y="11811"/>
                  </a:lnTo>
                  <a:lnTo>
                    <a:pt x="58724" y="180721"/>
                  </a:lnTo>
                  <a:lnTo>
                    <a:pt x="71450" y="180721"/>
                  </a:lnTo>
                  <a:lnTo>
                    <a:pt x="71450" y="11811"/>
                  </a:lnTo>
                  <a:lnTo>
                    <a:pt x="130175" y="11811"/>
                  </a:lnTo>
                  <a:lnTo>
                    <a:pt x="130175" y="381"/>
                  </a:lnTo>
                  <a:close/>
                </a:path>
                <a:path w="170180" h="180975">
                  <a:moveTo>
                    <a:pt x="169608" y="0"/>
                  </a:moveTo>
                  <a:lnTo>
                    <a:pt x="156997" y="0"/>
                  </a:lnTo>
                  <a:lnTo>
                    <a:pt x="156997" y="180733"/>
                  </a:lnTo>
                  <a:lnTo>
                    <a:pt x="169608" y="180733"/>
                  </a:lnTo>
                  <a:lnTo>
                    <a:pt x="169608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7" name="object 18">
              <a:extLst>
                <a:ext uri="{FF2B5EF4-FFF2-40B4-BE49-F238E27FC236}">
                  <a16:creationId xmlns:a16="http://schemas.microsoft.com/office/drawing/2014/main" id="{D1646286-FDD1-4F77-39A3-8D02E1025A80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8446220" y="1226554"/>
              <a:ext cx="147367" cy="186046"/>
            </a:xfrm>
            <a:prstGeom prst="rect">
              <a:avLst/>
            </a:prstGeom>
          </p:spPr>
        </p:pic>
        <p:pic>
          <p:nvPicPr>
            <p:cNvPr id="48" name="object 19">
              <a:extLst>
                <a:ext uri="{FF2B5EF4-FFF2-40B4-BE49-F238E27FC236}">
                  <a16:creationId xmlns:a16="http://schemas.microsoft.com/office/drawing/2014/main" id="{A05C4F6E-C3CA-8501-9D7C-8E3F1DF882A1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8613357" y="1228662"/>
              <a:ext cx="283342" cy="181470"/>
            </a:xfrm>
            <a:prstGeom prst="rect">
              <a:avLst/>
            </a:prstGeom>
          </p:spPr>
        </p:pic>
        <p:sp>
          <p:nvSpPr>
            <p:cNvPr id="49" name="object 20">
              <a:extLst>
                <a:ext uri="{FF2B5EF4-FFF2-40B4-BE49-F238E27FC236}">
                  <a16:creationId xmlns:a16="http://schemas.microsoft.com/office/drawing/2014/main" id="{8CF249F4-1E8B-687C-F2AC-7625C67F910E}"/>
                </a:ext>
              </a:extLst>
            </p:cNvPr>
            <p:cNvSpPr/>
            <p:nvPr/>
          </p:nvSpPr>
          <p:spPr>
            <a:xfrm>
              <a:off x="18923528" y="1229407"/>
              <a:ext cx="12700" cy="180975"/>
            </a:xfrm>
            <a:custGeom>
              <a:avLst/>
              <a:gdLst/>
              <a:ahLst/>
              <a:cxnLst/>
              <a:rect l="l" t="t" r="r" b="b"/>
              <a:pathLst>
                <a:path w="12700" h="180975">
                  <a:moveTo>
                    <a:pt x="12606" y="0"/>
                  </a:moveTo>
                  <a:lnTo>
                    <a:pt x="0" y="0"/>
                  </a:lnTo>
                  <a:lnTo>
                    <a:pt x="0" y="180727"/>
                  </a:lnTo>
                  <a:lnTo>
                    <a:pt x="12606" y="180727"/>
                  </a:lnTo>
                  <a:lnTo>
                    <a:pt x="12606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0" name="object 21">
              <a:extLst>
                <a:ext uri="{FF2B5EF4-FFF2-40B4-BE49-F238E27FC236}">
                  <a16:creationId xmlns:a16="http://schemas.microsoft.com/office/drawing/2014/main" id="{C7E7EC48-68AB-EF8D-2CE5-0A6FA0BDE994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8977667" y="1226555"/>
              <a:ext cx="161576" cy="186046"/>
            </a:xfrm>
            <a:prstGeom prst="rect">
              <a:avLst/>
            </a:prstGeom>
          </p:spPr>
        </p:pic>
        <p:pic>
          <p:nvPicPr>
            <p:cNvPr id="51" name="object 22">
              <a:extLst>
                <a:ext uri="{FF2B5EF4-FFF2-40B4-BE49-F238E27FC236}">
                  <a16:creationId xmlns:a16="http://schemas.microsoft.com/office/drawing/2014/main" id="{CBD9A07B-F55E-F653-7E93-0D001BC040BF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9180778" y="1229403"/>
              <a:ext cx="131409" cy="180727"/>
            </a:xfrm>
            <a:prstGeom prst="rect">
              <a:avLst/>
            </a:prstGeom>
          </p:spPr>
        </p:pic>
      </p:grpSp>
      <p:sp>
        <p:nvSpPr>
          <p:cNvPr id="52" name="object 23">
            <a:extLst>
              <a:ext uri="{FF2B5EF4-FFF2-40B4-BE49-F238E27FC236}">
                <a16:creationId xmlns:a16="http://schemas.microsoft.com/office/drawing/2014/main" id="{FE9A950A-FD18-A26B-E6C5-0F1F52B81030}"/>
              </a:ext>
            </a:extLst>
          </p:cNvPr>
          <p:cNvSpPr/>
          <p:nvPr userDrawn="1"/>
        </p:nvSpPr>
        <p:spPr>
          <a:xfrm>
            <a:off x="17305002" y="681277"/>
            <a:ext cx="513715" cy="76200"/>
          </a:xfrm>
          <a:custGeom>
            <a:avLst/>
            <a:gdLst/>
            <a:ahLst/>
            <a:cxnLst/>
            <a:rect l="l" t="t" r="r" b="b"/>
            <a:pathLst>
              <a:path w="513715" h="76200">
                <a:moveTo>
                  <a:pt x="513418" y="0"/>
                </a:moveTo>
                <a:lnTo>
                  <a:pt x="0" y="0"/>
                </a:lnTo>
                <a:lnTo>
                  <a:pt x="0" y="76050"/>
                </a:lnTo>
                <a:lnTo>
                  <a:pt x="513418" y="76050"/>
                </a:lnTo>
                <a:lnTo>
                  <a:pt x="513418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27">
            <a:extLst>
              <a:ext uri="{FF2B5EF4-FFF2-40B4-BE49-F238E27FC236}">
                <a16:creationId xmlns:a16="http://schemas.microsoft.com/office/drawing/2014/main" id="{A013D232-F00A-E669-0BEB-29BA57F07374}"/>
              </a:ext>
            </a:extLst>
          </p:cNvPr>
          <p:cNvSpPr/>
          <p:nvPr userDrawn="1"/>
        </p:nvSpPr>
        <p:spPr>
          <a:xfrm>
            <a:off x="16098986" y="11673393"/>
            <a:ext cx="4005579" cy="677545"/>
          </a:xfrm>
          <a:custGeom>
            <a:avLst/>
            <a:gdLst/>
            <a:ahLst/>
            <a:cxnLst/>
            <a:rect l="l" t="t" r="r" b="b"/>
            <a:pathLst>
              <a:path w="4005580" h="677545">
                <a:moveTo>
                  <a:pt x="4005113" y="0"/>
                </a:moveTo>
                <a:lnTo>
                  <a:pt x="0" y="0"/>
                </a:lnTo>
                <a:lnTo>
                  <a:pt x="0" y="677036"/>
                </a:lnTo>
                <a:lnTo>
                  <a:pt x="4005113" y="67703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657254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F47D03-739D-D4DC-FFAA-BA72C962E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1112" y="1399683"/>
            <a:ext cx="13927338" cy="923330"/>
          </a:xfrm>
        </p:spPr>
        <p:txBody>
          <a:bodyPr/>
          <a:lstStyle>
            <a:lvl1pPr>
              <a:defRPr sz="60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F0C7E04-8B71-FEC6-1C1A-A3CC7CF6E3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JUSTICE WITHOUT LITIGATION II - ECONOMIC PART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A192B04-9983-C054-884B-977902B38BB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12th March 2025 | Rom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5D6F7-F4AB-1D2D-31D3-0558EEB8F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38100">
              <a:lnSpc>
                <a:spcPct val="100000"/>
              </a:lnSpc>
              <a:spcBef>
                <a:spcPts val="85"/>
              </a:spcBef>
            </a:pPr>
            <a:fld id="{81D60167-4931-47E6-BA6A-407CBD079E47}" type="slidenum">
              <a:rPr lang="de-DE" spc="15" smtClean="0"/>
              <a:t>‹#›</a:t>
            </a:fld>
            <a:endParaRPr lang="de-DE" spc="15" dirty="0"/>
          </a:p>
        </p:txBody>
      </p:sp>
      <p:sp>
        <p:nvSpPr>
          <p:cNvPr id="28" name="object 23">
            <a:extLst>
              <a:ext uri="{FF2B5EF4-FFF2-40B4-BE49-F238E27FC236}">
                <a16:creationId xmlns:a16="http://schemas.microsoft.com/office/drawing/2014/main" id="{BFD4C767-559D-B761-6434-849A19035F02}"/>
              </a:ext>
            </a:extLst>
          </p:cNvPr>
          <p:cNvSpPr/>
          <p:nvPr userDrawn="1"/>
        </p:nvSpPr>
        <p:spPr>
          <a:xfrm>
            <a:off x="497344" y="0"/>
            <a:ext cx="630555" cy="4417695"/>
          </a:xfrm>
          <a:custGeom>
            <a:avLst/>
            <a:gdLst/>
            <a:ahLst/>
            <a:cxnLst/>
            <a:rect l="l" t="t" r="r" b="b"/>
            <a:pathLst>
              <a:path w="630555" h="4417695">
                <a:moveTo>
                  <a:pt x="630242" y="4083639"/>
                </a:moveTo>
                <a:lnTo>
                  <a:pt x="630242" y="4073744"/>
                </a:lnTo>
                <a:lnTo>
                  <a:pt x="630106" y="4073859"/>
                </a:lnTo>
                <a:lnTo>
                  <a:pt x="629855" y="4074090"/>
                </a:lnTo>
                <a:lnTo>
                  <a:pt x="629855" y="0"/>
                </a:lnTo>
              </a:path>
              <a:path w="630555" h="4417695">
                <a:moveTo>
                  <a:pt x="2434" y="0"/>
                </a:moveTo>
                <a:lnTo>
                  <a:pt x="0" y="2699357"/>
                </a:lnTo>
                <a:lnTo>
                  <a:pt x="0" y="4417388"/>
                </a:lnTo>
                <a:lnTo>
                  <a:pt x="49735" y="4401593"/>
                </a:lnTo>
                <a:lnTo>
                  <a:pt x="98845" y="4384492"/>
                </a:lnTo>
                <a:lnTo>
                  <a:pt x="147304" y="4366102"/>
                </a:lnTo>
                <a:lnTo>
                  <a:pt x="195086" y="4346440"/>
                </a:lnTo>
                <a:lnTo>
                  <a:pt x="242168" y="4325523"/>
                </a:lnTo>
                <a:lnTo>
                  <a:pt x="288524" y="4303369"/>
                </a:lnTo>
                <a:lnTo>
                  <a:pt x="334129" y="4279994"/>
                </a:lnTo>
                <a:lnTo>
                  <a:pt x="378959" y="4255416"/>
                </a:lnTo>
                <a:lnTo>
                  <a:pt x="422987" y="4229652"/>
                </a:lnTo>
                <a:lnTo>
                  <a:pt x="466190" y="4202719"/>
                </a:lnTo>
                <a:lnTo>
                  <a:pt x="508541" y="4174634"/>
                </a:lnTo>
                <a:lnTo>
                  <a:pt x="550017" y="4145414"/>
                </a:lnTo>
                <a:lnTo>
                  <a:pt x="590593" y="4115077"/>
                </a:lnTo>
                <a:lnTo>
                  <a:pt x="630242" y="4083639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Textplatzhalter 34">
            <a:extLst>
              <a:ext uri="{FF2B5EF4-FFF2-40B4-BE49-F238E27FC236}">
                <a16:creationId xmlns:a16="http://schemas.microsoft.com/office/drawing/2014/main" id="{F23AD939-B919-1B67-2915-8E55EBAEED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12069" y="2633271"/>
            <a:ext cx="13833061" cy="769441"/>
          </a:xfrm>
        </p:spPr>
        <p:txBody>
          <a:bodyPr/>
          <a:lstStyle>
            <a:lvl1pPr>
              <a:defRPr sz="50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4000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6000">
                <a:latin typeface="+mj-lt"/>
              </a:defRPr>
            </a:lvl3pPr>
            <a:lvl4pPr>
              <a:defRPr sz="6000">
                <a:latin typeface="+mj-lt"/>
              </a:defRPr>
            </a:lvl4pPr>
            <a:lvl5pPr>
              <a:defRPr sz="6000">
                <a:latin typeface="+mj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1" name="object 2">
            <a:extLst>
              <a:ext uri="{FF2B5EF4-FFF2-40B4-BE49-F238E27FC236}">
                <a16:creationId xmlns:a16="http://schemas.microsoft.com/office/drawing/2014/main" id="{928B40EF-AEAB-9CAE-F740-F4D6986CE5BA}"/>
              </a:ext>
            </a:extLst>
          </p:cNvPr>
          <p:cNvSpPr/>
          <p:nvPr userDrawn="1"/>
        </p:nvSpPr>
        <p:spPr>
          <a:xfrm>
            <a:off x="17231199" y="834965"/>
            <a:ext cx="587375" cy="579755"/>
          </a:xfrm>
          <a:custGeom>
            <a:avLst/>
            <a:gdLst/>
            <a:ahLst/>
            <a:cxnLst/>
            <a:rect l="l" t="t" r="r" b="b"/>
            <a:pathLst>
              <a:path w="587375" h="579755">
                <a:moveTo>
                  <a:pt x="587259" y="0"/>
                </a:moveTo>
                <a:lnTo>
                  <a:pt x="513460" y="0"/>
                </a:lnTo>
                <a:lnTo>
                  <a:pt x="513460" y="285687"/>
                </a:lnTo>
                <a:lnTo>
                  <a:pt x="507898" y="334898"/>
                </a:lnTo>
                <a:lnTo>
                  <a:pt x="492045" y="380220"/>
                </a:lnTo>
                <a:lnTo>
                  <a:pt x="467148" y="420422"/>
                </a:lnTo>
                <a:lnTo>
                  <a:pt x="434457" y="454279"/>
                </a:lnTo>
                <a:lnTo>
                  <a:pt x="434457" y="0"/>
                </a:lnTo>
                <a:lnTo>
                  <a:pt x="358407" y="0"/>
                </a:lnTo>
                <a:lnTo>
                  <a:pt x="358407" y="495754"/>
                </a:lnTo>
                <a:lnTo>
                  <a:pt x="342810" y="499947"/>
                </a:lnTo>
                <a:lnTo>
                  <a:pt x="326785" y="503005"/>
                </a:lnTo>
                <a:lnTo>
                  <a:pt x="310376" y="504877"/>
                </a:lnTo>
                <a:lnTo>
                  <a:pt x="293624" y="505513"/>
                </a:lnTo>
                <a:lnTo>
                  <a:pt x="249374" y="501039"/>
                </a:lnTo>
                <a:lnTo>
                  <a:pt x="208134" y="488212"/>
                </a:lnTo>
                <a:lnTo>
                  <a:pt x="170795" y="467921"/>
                </a:lnTo>
                <a:lnTo>
                  <a:pt x="138248" y="441058"/>
                </a:lnTo>
                <a:lnTo>
                  <a:pt x="111383" y="408513"/>
                </a:lnTo>
                <a:lnTo>
                  <a:pt x="91090" y="371175"/>
                </a:lnTo>
                <a:lnTo>
                  <a:pt x="78262" y="329937"/>
                </a:lnTo>
                <a:lnTo>
                  <a:pt x="73788" y="285687"/>
                </a:lnTo>
                <a:lnTo>
                  <a:pt x="73788" y="272431"/>
                </a:lnTo>
                <a:lnTo>
                  <a:pt x="0" y="272431"/>
                </a:lnTo>
                <a:lnTo>
                  <a:pt x="0" y="285687"/>
                </a:lnTo>
                <a:lnTo>
                  <a:pt x="3850" y="333251"/>
                </a:lnTo>
                <a:lnTo>
                  <a:pt x="14995" y="378394"/>
                </a:lnTo>
                <a:lnTo>
                  <a:pt x="32825" y="420508"/>
                </a:lnTo>
                <a:lnTo>
                  <a:pt x="56731" y="458984"/>
                </a:lnTo>
                <a:lnTo>
                  <a:pt x="86103" y="493212"/>
                </a:lnTo>
                <a:lnTo>
                  <a:pt x="120332" y="522583"/>
                </a:lnTo>
                <a:lnTo>
                  <a:pt x="158808" y="546488"/>
                </a:lnTo>
                <a:lnTo>
                  <a:pt x="200921" y="564317"/>
                </a:lnTo>
                <a:lnTo>
                  <a:pt x="246063" y="575462"/>
                </a:lnTo>
                <a:lnTo>
                  <a:pt x="293624" y="579312"/>
                </a:lnTo>
                <a:lnTo>
                  <a:pt x="341190" y="575462"/>
                </a:lnTo>
                <a:lnTo>
                  <a:pt x="386336" y="564317"/>
                </a:lnTo>
                <a:lnTo>
                  <a:pt x="428452" y="546488"/>
                </a:lnTo>
                <a:lnTo>
                  <a:pt x="466929" y="522583"/>
                </a:lnTo>
                <a:lnTo>
                  <a:pt x="501158" y="493212"/>
                </a:lnTo>
                <a:lnTo>
                  <a:pt x="530530" y="458984"/>
                </a:lnTo>
                <a:lnTo>
                  <a:pt x="554435" y="420508"/>
                </a:lnTo>
                <a:lnTo>
                  <a:pt x="572265" y="378394"/>
                </a:lnTo>
                <a:lnTo>
                  <a:pt x="583409" y="333251"/>
                </a:lnTo>
                <a:lnTo>
                  <a:pt x="587259" y="285687"/>
                </a:lnTo>
                <a:lnTo>
                  <a:pt x="587259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3" name="object 3">
            <a:extLst>
              <a:ext uri="{FF2B5EF4-FFF2-40B4-BE49-F238E27FC236}">
                <a16:creationId xmlns:a16="http://schemas.microsoft.com/office/drawing/2014/main" id="{4813B957-974F-BE46-E7FD-AA852DE9CA38}"/>
              </a:ext>
            </a:extLst>
          </p:cNvPr>
          <p:cNvGrpSpPr/>
          <p:nvPr userDrawn="1"/>
        </p:nvGrpSpPr>
        <p:grpSpPr>
          <a:xfrm>
            <a:off x="18055059" y="680607"/>
            <a:ext cx="1011555" cy="467995"/>
            <a:chOff x="18055059" y="680607"/>
            <a:chExt cx="1011555" cy="467995"/>
          </a:xfrm>
        </p:grpSpPr>
        <p:pic>
          <p:nvPicPr>
            <p:cNvPr id="34" name="object 4">
              <a:extLst>
                <a:ext uri="{FF2B5EF4-FFF2-40B4-BE49-F238E27FC236}">
                  <a16:creationId xmlns:a16="http://schemas.microsoft.com/office/drawing/2014/main" id="{0C9FCB04-F40A-5923-E978-256B770D44D6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065731" y="683266"/>
              <a:ext cx="91557" cy="243814"/>
            </a:xfrm>
            <a:prstGeom prst="rect">
              <a:avLst/>
            </a:prstGeom>
          </p:spPr>
        </p:pic>
        <p:pic>
          <p:nvPicPr>
            <p:cNvPr id="35" name="object 5">
              <a:extLst>
                <a:ext uri="{FF2B5EF4-FFF2-40B4-BE49-F238E27FC236}">
                  <a16:creationId xmlns:a16="http://schemas.microsoft.com/office/drawing/2014/main" id="{C76AA6E9-9A8D-0C71-19D2-282FB648BAE6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8196176" y="683267"/>
              <a:ext cx="157984" cy="188088"/>
            </a:xfrm>
            <a:prstGeom prst="rect">
              <a:avLst/>
            </a:prstGeom>
          </p:spPr>
        </p:pic>
        <p:pic>
          <p:nvPicPr>
            <p:cNvPr id="36" name="object 6">
              <a:extLst>
                <a:ext uri="{FF2B5EF4-FFF2-40B4-BE49-F238E27FC236}">
                  <a16:creationId xmlns:a16="http://schemas.microsoft.com/office/drawing/2014/main" id="{282748A4-A041-EB1A-562B-B4B51FED624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8384343" y="680607"/>
              <a:ext cx="284270" cy="190758"/>
            </a:xfrm>
            <a:prstGeom prst="rect">
              <a:avLst/>
            </a:prstGeom>
          </p:spPr>
        </p:pic>
        <p:sp>
          <p:nvSpPr>
            <p:cNvPr id="37" name="object 7">
              <a:extLst>
                <a:ext uri="{FF2B5EF4-FFF2-40B4-BE49-F238E27FC236}">
                  <a16:creationId xmlns:a16="http://schemas.microsoft.com/office/drawing/2014/main" id="{FECCE222-6A29-AD70-3C60-C8F54CBA6294}"/>
                </a:ext>
              </a:extLst>
            </p:cNvPr>
            <p:cNvSpPr/>
            <p:nvPr/>
          </p:nvSpPr>
          <p:spPr>
            <a:xfrm>
              <a:off x="18695001" y="683267"/>
              <a:ext cx="50165" cy="186055"/>
            </a:xfrm>
            <a:custGeom>
              <a:avLst/>
              <a:gdLst/>
              <a:ahLst/>
              <a:cxnLst/>
              <a:rect l="l" t="t" r="r" b="b"/>
              <a:pathLst>
                <a:path w="50165" h="186055">
                  <a:moveTo>
                    <a:pt x="50134" y="0"/>
                  </a:moveTo>
                  <a:lnTo>
                    <a:pt x="0" y="0"/>
                  </a:lnTo>
                  <a:lnTo>
                    <a:pt x="0" y="185554"/>
                  </a:lnTo>
                  <a:lnTo>
                    <a:pt x="50134" y="185554"/>
                  </a:lnTo>
                  <a:lnTo>
                    <a:pt x="50134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8">
              <a:extLst>
                <a:ext uri="{FF2B5EF4-FFF2-40B4-BE49-F238E27FC236}">
                  <a16:creationId xmlns:a16="http://schemas.microsoft.com/office/drawing/2014/main" id="{86E817AC-1E32-BFC9-BA81-306CE48CAB36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778226" y="680607"/>
              <a:ext cx="146738" cy="190758"/>
            </a:xfrm>
            <a:prstGeom prst="rect">
              <a:avLst/>
            </a:prstGeom>
          </p:spPr>
        </p:pic>
        <p:sp>
          <p:nvSpPr>
            <p:cNvPr id="39" name="object 9">
              <a:extLst>
                <a:ext uri="{FF2B5EF4-FFF2-40B4-BE49-F238E27FC236}">
                  <a16:creationId xmlns:a16="http://schemas.microsoft.com/office/drawing/2014/main" id="{94F0BEF3-BC99-8A30-700A-21D0D83F2040}"/>
                </a:ext>
              </a:extLst>
            </p:cNvPr>
            <p:cNvSpPr/>
            <p:nvPr/>
          </p:nvSpPr>
          <p:spPr>
            <a:xfrm>
              <a:off x="18952884" y="683411"/>
              <a:ext cx="109855" cy="185420"/>
            </a:xfrm>
            <a:custGeom>
              <a:avLst/>
              <a:gdLst/>
              <a:ahLst/>
              <a:cxnLst/>
              <a:rect l="l" t="t" r="r" b="b"/>
              <a:pathLst>
                <a:path w="109855" h="185419">
                  <a:moveTo>
                    <a:pt x="109601" y="0"/>
                  </a:moveTo>
                  <a:lnTo>
                    <a:pt x="0" y="0"/>
                  </a:lnTo>
                  <a:lnTo>
                    <a:pt x="0" y="40640"/>
                  </a:lnTo>
                  <a:lnTo>
                    <a:pt x="0" y="69850"/>
                  </a:lnTo>
                  <a:lnTo>
                    <a:pt x="0" y="109220"/>
                  </a:lnTo>
                  <a:lnTo>
                    <a:pt x="0" y="144780"/>
                  </a:lnTo>
                  <a:lnTo>
                    <a:pt x="0" y="185420"/>
                  </a:lnTo>
                  <a:lnTo>
                    <a:pt x="109601" y="185420"/>
                  </a:lnTo>
                  <a:lnTo>
                    <a:pt x="109601" y="144780"/>
                  </a:lnTo>
                  <a:lnTo>
                    <a:pt x="49885" y="144780"/>
                  </a:lnTo>
                  <a:lnTo>
                    <a:pt x="49885" y="109220"/>
                  </a:lnTo>
                  <a:lnTo>
                    <a:pt x="105181" y="109220"/>
                  </a:lnTo>
                  <a:lnTo>
                    <a:pt x="105181" y="69850"/>
                  </a:lnTo>
                  <a:lnTo>
                    <a:pt x="49885" y="69850"/>
                  </a:lnTo>
                  <a:lnTo>
                    <a:pt x="49885" y="40640"/>
                  </a:lnTo>
                  <a:lnTo>
                    <a:pt x="109601" y="40640"/>
                  </a:lnTo>
                  <a:lnTo>
                    <a:pt x="109601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0" name="object 10">
              <a:extLst>
                <a:ext uri="{FF2B5EF4-FFF2-40B4-BE49-F238E27FC236}">
                  <a16:creationId xmlns:a16="http://schemas.microsoft.com/office/drawing/2014/main" id="{ECEB61A5-A82B-CF3C-36BC-620E7D81BB6B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055059" y="965618"/>
              <a:ext cx="235657" cy="180287"/>
            </a:xfrm>
            <a:prstGeom prst="rect">
              <a:avLst/>
            </a:prstGeom>
          </p:spPr>
        </p:pic>
        <p:sp>
          <p:nvSpPr>
            <p:cNvPr id="41" name="object 11">
              <a:extLst>
                <a:ext uri="{FF2B5EF4-FFF2-40B4-BE49-F238E27FC236}">
                  <a16:creationId xmlns:a16="http://schemas.microsoft.com/office/drawing/2014/main" id="{C49E0FFD-30D6-DD40-384C-44739AE3610A}"/>
                </a:ext>
              </a:extLst>
            </p:cNvPr>
            <p:cNvSpPr/>
            <p:nvPr/>
          </p:nvSpPr>
          <p:spPr>
            <a:xfrm>
              <a:off x="18316233" y="965566"/>
              <a:ext cx="362585" cy="180340"/>
            </a:xfrm>
            <a:custGeom>
              <a:avLst/>
              <a:gdLst/>
              <a:ahLst/>
              <a:cxnLst/>
              <a:rect l="l" t="t" r="r" b="b"/>
              <a:pathLst>
                <a:path w="362584" h="180340">
                  <a:moveTo>
                    <a:pt x="29476" y="50"/>
                  </a:moveTo>
                  <a:lnTo>
                    <a:pt x="0" y="50"/>
                  </a:lnTo>
                  <a:lnTo>
                    <a:pt x="0" y="180340"/>
                  </a:lnTo>
                  <a:lnTo>
                    <a:pt x="29476" y="180340"/>
                  </a:lnTo>
                  <a:lnTo>
                    <a:pt x="29476" y="50"/>
                  </a:lnTo>
                  <a:close/>
                </a:path>
                <a:path w="362584" h="180340">
                  <a:moveTo>
                    <a:pt x="192379" y="0"/>
                  </a:moveTo>
                  <a:lnTo>
                    <a:pt x="56845" y="0"/>
                  </a:lnTo>
                  <a:lnTo>
                    <a:pt x="56845" y="25400"/>
                  </a:lnTo>
                  <a:lnTo>
                    <a:pt x="109880" y="25400"/>
                  </a:lnTo>
                  <a:lnTo>
                    <a:pt x="109880" y="180340"/>
                  </a:lnTo>
                  <a:lnTo>
                    <a:pt x="139344" y="180340"/>
                  </a:lnTo>
                  <a:lnTo>
                    <a:pt x="139344" y="25400"/>
                  </a:lnTo>
                  <a:lnTo>
                    <a:pt x="192379" y="25400"/>
                  </a:lnTo>
                  <a:lnTo>
                    <a:pt x="192379" y="0"/>
                  </a:lnTo>
                  <a:close/>
                </a:path>
                <a:path w="362584" h="180340">
                  <a:moveTo>
                    <a:pt x="362191" y="0"/>
                  </a:moveTo>
                  <a:lnTo>
                    <a:pt x="332587" y="0"/>
                  </a:lnTo>
                  <a:lnTo>
                    <a:pt x="332587" y="73660"/>
                  </a:lnTo>
                  <a:lnTo>
                    <a:pt x="249478" y="73660"/>
                  </a:lnTo>
                  <a:lnTo>
                    <a:pt x="249478" y="0"/>
                  </a:lnTo>
                  <a:lnTo>
                    <a:pt x="220002" y="0"/>
                  </a:lnTo>
                  <a:lnTo>
                    <a:pt x="220002" y="73660"/>
                  </a:lnTo>
                  <a:lnTo>
                    <a:pt x="220002" y="99060"/>
                  </a:lnTo>
                  <a:lnTo>
                    <a:pt x="220002" y="180340"/>
                  </a:lnTo>
                  <a:lnTo>
                    <a:pt x="249478" y="180340"/>
                  </a:lnTo>
                  <a:lnTo>
                    <a:pt x="249478" y="99060"/>
                  </a:lnTo>
                  <a:lnTo>
                    <a:pt x="332587" y="99060"/>
                  </a:lnTo>
                  <a:lnTo>
                    <a:pt x="332587" y="180340"/>
                  </a:lnTo>
                  <a:lnTo>
                    <a:pt x="362191" y="180340"/>
                  </a:lnTo>
                  <a:lnTo>
                    <a:pt x="362191" y="99060"/>
                  </a:lnTo>
                  <a:lnTo>
                    <a:pt x="362191" y="73660"/>
                  </a:lnTo>
                  <a:lnTo>
                    <a:pt x="362191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2" name="object 12">
              <a:extLst>
                <a:ext uri="{FF2B5EF4-FFF2-40B4-BE49-F238E27FC236}">
                  <a16:creationId xmlns:a16="http://schemas.microsoft.com/office/drawing/2014/main" id="{07CD6F89-2499-DC09-0E5A-B44177321641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8717022" y="962781"/>
              <a:ext cx="168947" cy="185596"/>
            </a:xfrm>
            <a:prstGeom prst="rect">
              <a:avLst/>
            </a:prstGeom>
          </p:spPr>
        </p:pic>
        <p:pic>
          <p:nvPicPr>
            <p:cNvPr id="43" name="object 13">
              <a:extLst>
                <a:ext uri="{FF2B5EF4-FFF2-40B4-BE49-F238E27FC236}">
                  <a16:creationId xmlns:a16="http://schemas.microsoft.com/office/drawing/2014/main" id="{32CB0FAC-1451-1A63-CBC7-B458E336706D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8923085" y="965618"/>
              <a:ext cx="142927" cy="182758"/>
            </a:xfrm>
            <a:prstGeom prst="rect">
              <a:avLst/>
            </a:prstGeom>
          </p:spPr>
        </p:pic>
      </p:grpSp>
      <p:sp>
        <p:nvSpPr>
          <p:cNvPr id="44" name="object 14">
            <a:extLst>
              <a:ext uri="{FF2B5EF4-FFF2-40B4-BE49-F238E27FC236}">
                <a16:creationId xmlns:a16="http://schemas.microsoft.com/office/drawing/2014/main" id="{441F933F-E4B6-0EEE-C787-E94011944261}"/>
              </a:ext>
            </a:extLst>
          </p:cNvPr>
          <p:cNvSpPr/>
          <p:nvPr userDrawn="1"/>
        </p:nvSpPr>
        <p:spPr>
          <a:xfrm>
            <a:off x="19091898" y="965566"/>
            <a:ext cx="135890" cy="180340"/>
          </a:xfrm>
          <a:custGeom>
            <a:avLst/>
            <a:gdLst/>
            <a:ahLst/>
            <a:cxnLst/>
            <a:rect l="l" t="t" r="r" b="b"/>
            <a:pathLst>
              <a:path w="135890" h="180340">
                <a:moveTo>
                  <a:pt x="135534" y="0"/>
                </a:moveTo>
                <a:lnTo>
                  <a:pt x="0" y="0"/>
                </a:lnTo>
                <a:lnTo>
                  <a:pt x="0" y="25400"/>
                </a:lnTo>
                <a:lnTo>
                  <a:pt x="53022" y="25400"/>
                </a:lnTo>
                <a:lnTo>
                  <a:pt x="53022" y="180340"/>
                </a:lnTo>
                <a:lnTo>
                  <a:pt x="82499" y="180340"/>
                </a:lnTo>
                <a:lnTo>
                  <a:pt x="82499" y="25400"/>
                </a:lnTo>
                <a:lnTo>
                  <a:pt x="135534" y="25400"/>
                </a:lnTo>
                <a:lnTo>
                  <a:pt x="1355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15">
            <a:extLst>
              <a:ext uri="{FF2B5EF4-FFF2-40B4-BE49-F238E27FC236}">
                <a16:creationId xmlns:a16="http://schemas.microsoft.com/office/drawing/2014/main" id="{2A6993B9-0382-CD8D-C732-348314BD64D7}"/>
              </a:ext>
            </a:extLst>
          </p:cNvPr>
          <p:cNvSpPr/>
          <p:nvPr userDrawn="1"/>
        </p:nvSpPr>
        <p:spPr>
          <a:xfrm>
            <a:off x="18065725" y="1229409"/>
            <a:ext cx="142875" cy="180975"/>
          </a:xfrm>
          <a:custGeom>
            <a:avLst/>
            <a:gdLst/>
            <a:ahLst/>
            <a:cxnLst/>
            <a:rect l="l" t="t" r="r" b="b"/>
            <a:pathLst>
              <a:path w="142875" h="180975">
                <a:moveTo>
                  <a:pt x="98767" y="169291"/>
                </a:moveTo>
                <a:lnTo>
                  <a:pt x="12598" y="169291"/>
                </a:lnTo>
                <a:lnTo>
                  <a:pt x="12598" y="381"/>
                </a:lnTo>
                <a:lnTo>
                  <a:pt x="0" y="381"/>
                </a:lnTo>
                <a:lnTo>
                  <a:pt x="0" y="169291"/>
                </a:lnTo>
                <a:lnTo>
                  <a:pt x="0" y="180721"/>
                </a:lnTo>
                <a:lnTo>
                  <a:pt x="98767" y="180721"/>
                </a:lnTo>
                <a:lnTo>
                  <a:pt x="98767" y="169291"/>
                </a:lnTo>
                <a:close/>
              </a:path>
              <a:path w="142875" h="180975">
                <a:moveTo>
                  <a:pt x="142532" y="0"/>
                </a:moveTo>
                <a:lnTo>
                  <a:pt x="129921" y="0"/>
                </a:lnTo>
                <a:lnTo>
                  <a:pt x="129921" y="180733"/>
                </a:lnTo>
                <a:lnTo>
                  <a:pt x="142532" y="180733"/>
                </a:lnTo>
                <a:lnTo>
                  <a:pt x="142532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6" name="object 16">
            <a:extLst>
              <a:ext uri="{FF2B5EF4-FFF2-40B4-BE49-F238E27FC236}">
                <a16:creationId xmlns:a16="http://schemas.microsoft.com/office/drawing/2014/main" id="{F5712695-9ED0-AB37-B990-C8AC50E92A0A}"/>
              </a:ext>
            </a:extLst>
          </p:cNvPr>
          <p:cNvGrpSpPr/>
          <p:nvPr userDrawn="1"/>
        </p:nvGrpSpPr>
        <p:grpSpPr>
          <a:xfrm>
            <a:off x="18235083" y="1226554"/>
            <a:ext cx="1077595" cy="186055"/>
            <a:chOff x="18235083" y="1226554"/>
            <a:chExt cx="1077595" cy="186055"/>
          </a:xfrm>
        </p:grpSpPr>
        <p:sp>
          <p:nvSpPr>
            <p:cNvPr id="47" name="object 17">
              <a:extLst>
                <a:ext uri="{FF2B5EF4-FFF2-40B4-BE49-F238E27FC236}">
                  <a16:creationId xmlns:a16="http://schemas.microsoft.com/office/drawing/2014/main" id="{54E559A5-8E70-DB3C-7AD1-55A9A8E5AB01}"/>
                </a:ext>
              </a:extLst>
            </p:cNvPr>
            <p:cNvSpPr/>
            <p:nvPr/>
          </p:nvSpPr>
          <p:spPr>
            <a:xfrm>
              <a:off x="18235080" y="1229409"/>
              <a:ext cx="170180" cy="180975"/>
            </a:xfrm>
            <a:custGeom>
              <a:avLst/>
              <a:gdLst/>
              <a:ahLst/>
              <a:cxnLst/>
              <a:rect l="l" t="t" r="r" b="b"/>
              <a:pathLst>
                <a:path w="170180" h="180975">
                  <a:moveTo>
                    <a:pt x="130175" y="381"/>
                  </a:moveTo>
                  <a:lnTo>
                    <a:pt x="0" y="381"/>
                  </a:lnTo>
                  <a:lnTo>
                    <a:pt x="0" y="11811"/>
                  </a:lnTo>
                  <a:lnTo>
                    <a:pt x="58724" y="11811"/>
                  </a:lnTo>
                  <a:lnTo>
                    <a:pt x="58724" y="180721"/>
                  </a:lnTo>
                  <a:lnTo>
                    <a:pt x="71450" y="180721"/>
                  </a:lnTo>
                  <a:lnTo>
                    <a:pt x="71450" y="11811"/>
                  </a:lnTo>
                  <a:lnTo>
                    <a:pt x="130175" y="11811"/>
                  </a:lnTo>
                  <a:lnTo>
                    <a:pt x="130175" y="381"/>
                  </a:lnTo>
                  <a:close/>
                </a:path>
                <a:path w="170180" h="180975">
                  <a:moveTo>
                    <a:pt x="169608" y="0"/>
                  </a:moveTo>
                  <a:lnTo>
                    <a:pt x="156997" y="0"/>
                  </a:lnTo>
                  <a:lnTo>
                    <a:pt x="156997" y="180733"/>
                  </a:lnTo>
                  <a:lnTo>
                    <a:pt x="169608" y="180733"/>
                  </a:lnTo>
                  <a:lnTo>
                    <a:pt x="169608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8" name="object 18">
              <a:extLst>
                <a:ext uri="{FF2B5EF4-FFF2-40B4-BE49-F238E27FC236}">
                  <a16:creationId xmlns:a16="http://schemas.microsoft.com/office/drawing/2014/main" id="{F9B1C4AD-D8FD-1E20-2F77-C1E77730CB4D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8446220" y="1226554"/>
              <a:ext cx="147367" cy="186046"/>
            </a:xfrm>
            <a:prstGeom prst="rect">
              <a:avLst/>
            </a:prstGeom>
          </p:spPr>
        </p:pic>
        <p:pic>
          <p:nvPicPr>
            <p:cNvPr id="49" name="object 19">
              <a:extLst>
                <a:ext uri="{FF2B5EF4-FFF2-40B4-BE49-F238E27FC236}">
                  <a16:creationId xmlns:a16="http://schemas.microsoft.com/office/drawing/2014/main" id="{7D6A1F23-A333-AD28-13E3-BB866635CD3C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8613357" y="1228662"/>
              <a:ext cx="283342" cy="181470"/>
            </a:xfrm>
            <a:prstGeom prst="rect">
              <a:avLst/>
            </a:prstGeom>
          </p:spPr>
        </p:pic>
        <p:sp>
          <p:nvSpPr>
            <p:cNvPr id="50" name="object 20">
              <a:extLst>
                <a:ext uri="{FF2B5EF4-FFF2-40B4-BE49-F238E27FC236}">
                  <a16:creationId xmlns:a16="http://schemas.microsoft.com/office/drawing/2014/main" id="{702A6E2D-29E7-6156-E8A1-8CF99D9E1AE5}"/>
                </a:ext>
              </a:extLst>
            </p:cNvPr>
            <p:cNvSpPr/>
            <p:nvPr/>
          </p:nvSpPr>
          <p:spPr>
            <a:xfrm>
              <a:off x="18923528" y="1229407"/>
              <a:ext cx="12700" cy="180975"/>
            </a:xfrm>
            <a:custGeom>
              <a:avLst/>
              <a:gdLst/>
              <a:ahLst/>
              <a:cxnLst/>
              <a:rect l="l" t="t" r="r" b="b"/>
              <a:pathLst>
                <a:path w="12700" h="180975">
                  <a:moveTo>
                    <a:pt x="12606" y="0"/>
                  </a:moveTo>
                  <a:lnTo>
                    <a:pt x="0" y="0"/>
                  </a:lnTo>
                  <a:lnTo>
                    <a:pt x="0" y="180727"/>
                  </a:lnTo>
                  <a:lnTo>
                    <a:pt x="12606" y="180727"/>
                  </a:lnTo>
                  <a:lnTo>
                    <a:pt x="12606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1" name="object 21">
              <a:extLst>
                <a:ext uri="{FF2B5EF4-FFF2-40B4-BE49-F238E27FC236}">
                  <a16:creationId xmlns:a16="http://schemas.microsoft.com/office/drawing/2014/main" id="{5B93DA66-C58E-2EC1-5407-9078484FAC3C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8977667" y="1226555"/>
              <a:ext cx="161576" cy="186046"/>
            </a:xfrm>
            <a:prstGeom prst="rect">
              <a:avLst/>
            </a:prstGeom>
          </p:spPr>
        </p:pic>
        <p:pic>
          <p:nvPicPr>
            <p:cNvPr id="52" name="object 22">
              <a:extLst>
                <a:ext uri="{FF2B5EF4-FFF2-40B4-BE49-F238E27FC236}">
                  <a16:creationId xmlns:a16="http://schemas.microsoft.com/office/drawing/2014/main" id="{87EDEA04-E281-148B-EE08-2239AAE6BD93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9180778" y="1229403"/>
              <a:ext cx="131409" cy="180727"/>
            </a:xfrm>
            <a:prstGeom prst="rect">
              <a:avLst/>
            </a:prstGeom>
          </p:spPr>
        </p:pic>
      </p:grpSp>
      <p:sp>
        <p:nvSpPr>
          <p:cNvPr id="53" name="object 23">
            <a:extLst>
              <a:ext uri="{FF2B5EF4-FFF2-40B4-BE49-F238E27FC236}">
                <a16:creationId xmlns:a16="http://schemas.microsoft.com/office/drawing/2014/main" id="{CB310575-1179-A461-9719-C79112301EE3}"/>
              </a:ext>
            </a:extLst>
          </p:cNvPr>
          <p:cNvSpPr/>
          <p:nvPr userDrawn="1"/>
        </p:nvSpPr>
        <p:spPr>
          <a:xfrm>
            <a:off x="17305002" y="681277"/>
            <a:ext cx="513715" cy="76200"/>
          </a:xfrm>
          <a:custGeom>
            <a:avLst/>
            <a:gdLst/>
            <a:ahLst/>
            <a:cxnLst/>
            <a:rect l="l" t="t" r="r" b="b"/>
            <a:pathLst>
              <a:path w="513715" h="76200">
                <a:moveTo>
                  <a:pt x="513418" y="0"/>
                </a:moveTo>
                <a:lnTo>
                  <a:pt x="0" y="0"/>
                </a:lnTo>
                <a:lnTo>
                  <a:pt x="0" y="76050"/>
                </a:lnTo>
                <a:lnTo>
                  <a:pt x="513418" y="76050"/>
                </a:lnTo>
                <a:lnTo>
                  <a:pt x="513418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27">
            <a:extLst>
              <a:ext uri="{FF2B5EF4-FFF2-40B4-BE49-F238E27FC236}">
                <a16:creationId xmlns:a16="http://schemas.microsoft.com/office/drawing/2014/main" id="{61414F4E-555B-B374-A82D-C0318292258E}"/>
              </a:ext>
            </a:extLst>
          </p:cNvPr>
          <p:cNvSpPr/>
          <p:nvPr userDrawn="1"/>
        </p:nvSpPr>
        <p:spPr>
          <a:xfrm>
            <a:off x="16098986" y="11673393"/>
            <a:ext cx="4005579" cy="677545"/>
          </a:xfrm>
          <a:custGeom>
            <a:avLst/>
            <a:gdLst/>
            <a:ahLst/>
            <a:cxnLst/>
            <a:rect l="l" t="t" r="r" b="b"/>
            <a:pathLst>
              <a:path w="4005580" h="677545">
                <a:moveTo>
                  <a:pt x="4005113" y="0"/>
                </a:moveTo>
                <a:lnTo>
                  <a:pt x="0" y="0"/>
                </a:lnTo>
                <a:lnTo>
                  <a:pt x="0" y="677036"/>
                </a:lnTo>
                <a:lnTo>
                  <a:pt x="4005113" y="67703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Textplatzhalter 55">
            <a:extLst>
              <a:ext uri="{FF2B5EF4-FFF2-40B4-BE49-F238E27FC236}">
                <a16:creationId xmlns:a16="http://schemas.microsoft.com/office/drawing/2014/main" id="{90FB11F2-85BF-A4A1-E0C2-B6D4B8120B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611112" y="4456665"/>
            <a:ext cx="16278225" cy="3706912"/>
          </a:xfrm>
        </p:spPr>
        <p:txBody>
          <a:bodyPr/>
          <a:lstStyle>
            <a:lvl1pPr>
              <a:lnSpc>
                <a:spcPct val="150000"/>
              </a:lnSpc>
              <a:defRPr sz="36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50000"/>
              </a:lnSpc>
              <a:defRPr sz="3200">
                <a:latin typeface="+mn-lt"/>
              </a:defRPr>
            </a:lvl2pPr>
            <a:lvl3pPr>
              <a:lnSpc>
                <a:spcPct val="150000"/>
              </a:lnSpc>
              <a:defRPr sz="3200">
                <a:latin typeface="+mn-lt"/>
              </a:defRPr>
            </a:lvl3pPr>
            <a:lvl4pPr>
              <a:lnSpc>
                <a:spcPct val="150000"/>
              </a:lnSpc>
              <a:defRPr sz="3200">
                <a:latin typeface="+mn-lt"/>
              </a:defRPr>
            </a:lvl4pPr>
            <a:lvl5pPr>
              <a:lnSpc>
                <a:spcPct val="150000"/>
              </a:lnSpc>
              <a:defRPr sz="3200">
                <a:latin typeface="+mn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9856590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F47D03-739D-D4DC-FFAA-BA72C962E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1112" y="1399683"/>
            <a:ext cx="13927338" cy="923330"/>
          </a:xfrm>
        </p:spPr>
        <p:txBody>
          <a:bodyPr/>
          <a:lstStyle>
            <a:lvl1pPr>
              <a:defRPr sz="60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F0C7E04-8B71-FEC6-1C1A-A3CC7CF6E3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JUSTICE WITHOUT LITIGATION II - ECONOMIC PART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A192B04-9983-C054-884B-977902B38BB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12th March 2025 | Rom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5D6F7-F4AB-1D2D-31D3-0558EEB8F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38100">
              <a:lnSpc>
                <a:spcPct val="100000"/>
              </a:lnSpc>
              <a:spcBef>
                <a:spcPts val="85"/>
              </a:spcBef>
            </a:pPr>
            <a:fld id="{81D60167-4931-47E6-BA6A-407CBD079E47}" type="slidenum">
              <a:rPr lang="de-DE" spc="15" smtClean="0"/>
              <a:t>‹#›</a:t>
            </a:fld>
            <a:endParaRPr lang="de-DE" spc="15" dirty="0"/>
          </a:p>
        </p:txBody>
      </p:sp>
      <p:sp>
        <p:nvSpPr>
          <p:cNvPr id="28" name="object 23">
            <a:extLst>
              <a:ext uri="{FF2B5EF4-FFF2-40B4-BE49-F238E27FC236}">
                <a16:creationId xmlns:a16="http://schemas.microsoft.com/office/drawing/2014/main" id="{BFD4C767-559D-B761-6434-849A19035F02}"/>
              </a:ext>
            </a:extLst>
          </p:cNvPr>
          <p:cNvSpPr/>
          <p:nvPr userDrawn="1"/>
        </p:nvSpPr>
        <p:spPr>
          <a:xfrm>
            <a:off x="497344" y="0"/>
            <a:ext cx="630555" cy="4417695"/>
          </a:xfrm>
          <a:custGeom>
            <a:avLst/>
            <a:gdLst/>
            <a:ahLst/>
            <a:cxnLst/>
            <a:rect l="l" t="t" r="r" b="b"/>
            <a:pathLst>
              <a:path w="630555" h="4417695">
                <a:moveTo>
                  <a:pt x="630242" y="4083639"/>
                </a:moveTo>
                <a:lnTo>
                  <a:pt x="630242" y="4073744"/>
                </a:lnTo>
                <a:lnTo>
                  <a:pt x="630106" y="4073859"/>
                </a:lnTo>
                <a:lnTo>
                  <a:pt x="629855" y="4074090"/>
                </a:lnTo>
                <a:lnTo>
                  <a:pt x="629855" y="0"/>
                </a:lnTo>
              </a:path>
              <a:path w="630555" h="4417695">
                <a:moveTo>
                  <a:pt x="2434" y="0"/>
                </a:moveTo>
                <a:lnTo>
                  <a:pt x="0" y="2699357"/>
                </a:lnTo>
                <a:lnTo>
                  <a:pt x="0" y="4417388"/>
                </a:lnTo>
                <a:lnTo>
                  <a:pt x="49735" y="4401593"/>
                </a:lnTo>
                <a:lnTo>
                  <a:pt x="98845" y="4384492"/>
                </a:lnTo>
                <a:lnTo>
                  <a:pt x="147304" y="4366102"/>
                </a:lnTo>
                <a:lnTo>
                  <a:pt x="195086" y="4346440"/>
                </a:lnTo>
                <a:lnTo>
                  <a:pt x="242168" y="4325523"/>
                </a:lnTo>
                <a:lnTo>
                  <a:pt x="288524" y="4303369"/>
                </a:lnTo>
                <a:lnTo>
                  <a:pt x="334129" y="4279994"/>
                </a:lnTo>
                <a:lnTo>
                  <a:pt x="378959" y="4255416"/>
                </a:lnTo>
                <a:lnTo>
                  <a:pt x="422987" y="4229652"/>
                </a:lnTo>
                <a:lnTo>
                  <a:pt x="466190" y="4202719"/>
                </a:lnTo>
                <a:lnTo>
                  <a:pt x="508541" y="4174634"/>
                </a:lnTo>
                <a:lnTo>
                  <a:pt x="550017" y="4145414"/>
                </a:lnTo>
                <a:lnTo>
                  <a:pt x="590593" y="4115077"/>
                </a:lnTo>
                <a:lnTo>
                  <a:pt x="630242" y="4083639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5355E5FF-E425-E1F3-2252-042EB33A5853}"/>
              </a:ext>
            </a:extLst>
          </p:cNvPr>
          <p:cNvSpPr/>
          <p:nvPr userDrawn="1"/>
        </p:nvSpPr>
        <p:spPr>
          <a:xfrm>
            <a:off x="17231199" y="834965"/>
            <a:ext cx="587375" cy="579755"/>
          </a:xfrm>
          <a:custGeom>
            <a:avLst/>
            <a:gdLst/>
            <a:ahLst/>
            <a:cxnLst/>
            <a:rect l="l" t="t" r="r" b="b"/>
            <a:pathLst>
              <a:path w="587375" h="579755">
                <a:moveTo>
                  <a:pt x="587259" y="0"/>
                </a:moveTo>
                <a:lnTo>
                  <a:pt x="513460" y="0"/>
                </a:lnTo>
                <a:lnTo>
                  <a:pt x="513460" y="285687"/>
                </a:lnTo>
                <a:lnTo>
                  <a:pt x="507898" y="334898"/>
                </a:lnTo>
                <a:lnTo>
                  <a:pt x="492045" y="380220"/>
                </a:lnTo>
                <a:lnTo>
                  <a:pt x="467148" y="420422"/>
                </a:lnTo>
                <a:lnTo>
                  <a:pt x="434457" y="454279"/>
                </a:lnTo>
                <a:lnTo>
                  <a:pt x="434457" y="0"/>
                </a:lnTo>
                <a:lnTo>
                  <a:pt x="358407" y="0"/>
                </a:lnTo>
                <a:lnTo>
                  <a:pt x="358407" y="495754"/>
                </a:lnTo>
                <a:lnTo>
                  <a:pt x="342810" y="499947"/>
                </a:lnTo>
                <a:lnTo>
                  <a:pt x="326785" y="503005"/>
                </a:lnTo>
                <a:lnTo>
                  <a:pt x="310376" y="504877"/>
                </a:lnTo>
                <a:lnTo>
                  <a:pt x="293624" y="505513"/>
                </a:lnTo>
                <a:lnTo>
                  <a:pt x="249374" y="501039"/>
                </a:lnTo>
                <a:lnTo>
                  <a:pt x="208134" y="488212"/>
                </a:lnTo>
                <a:lnTo>
                  <a:pt x="170795" y="467921"/>
                </a:lnTo>
                <a:lnTo>
                  <a:pt x="138248" y="441058"/>
                </a:lnTo>
                <a:lnTo>
                  <a:pt x="111383" y="408513"/>
                </a:lnTo>
                <a:lnTo>
                  <a:pt x="91090" y="371175"/>
                </a:lnTo>
                <a:lnTo>
                  <a:pt x="78262" y="329937"/>
                </a:lnTo>
                <a:lnTo>
                  <a:pt x="73788" y="285687"/>
                </a:lnTo>
                <a:lnTo>
                  <a:pt x="73788" y="272431"/>
                </a:lnTo>
                <a:lnTo>
                  <a:pt x="0" y="272431"/>
                </a:lnTo>
                <a:lnTo>
                  <a:pt x="0" y="285687"/>
                </a:lnTo>
                <a:lnTo>
                  <a:pt x="3850" y="333251"/>
                </a:lnTo>
                <a:lnTo>
                  <a:pt x="14995" y="378394"/>
                </a:lnTo>
                <a:lnTo>
                  <a:pt x="32825" y="420508"/>
                </a:lnTo>
                <a:lnTo>
                  <a:pt x="56731" y="458984"/>
                </a:lnTo>
                <a:lnTo>
                  <a:pt x="86103" y="493212"/>
                </a:lnTo>
                <a:lnTo>
                  <a:pt x="120332" y="522583"/>
                </a:lnTo>
                <a:lnTo>
                  <a:pt x="158808" y="546488"/>
                </a:lnTo>
                <a:lnTo>
                  <a:pt x="200921" y="564317"/>
                </a:lnTo>
                <a:lnTo>
                  <a:pt x="246063" y="575462"/>
                </a:lnTo>
                <a:lnTo>
                  <a:pt x="293624" y="579312"/>
                </a:lnTo>
                <a:lnTo>
                  <a:pt x="341190" y="575462"/>
                </a:lnTo>
                <a:lnTo>
                  <a:pt x="386336" y="564317"/>
                </a:lnTo>
                <a:lnTo>
                  <a:pt x="428452" y="546488"/>
                </a:lnTo>
                <a:lnTo>
                  <a:pt x="466929" y="522583"/>
                </a:lnTo>
                <a:lnTo>
                  <a:pt x="501158" y="493212"/>
                </a:lnTo>
                <a:lnTo>
                  <a:pt x="530530" y="458984"/>
                </a:lnTo>
                <a:lnTo>
                  <a:pt x="554435" y="420508"/>
                </a:lnTo>
                <a:lnTo>
                  <a:pt x="572265" y="378394"/>
                </a:lnTo>
                <a:lnTo>
                  <a:pt x="583409" y="333251"/>
                </a:lnTo>
                <a:lnTo>
                  <a:pt x="587259" y="285687"/>
                </a:lnTo>
                <a:lnTo>
                  <a:pt x="587259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2D629713-AEAF-885E-A2DA-057F8F00F1BB}"/>
              </a:ext>
            </a:extLst>
          </p:cNvPr>
          <p:cNvGrpSpPr/>
          <p:nvPr userDrawn="1"/>
        </p:nvGrpSpPr>
        <p:grpSpPr>
          <a:xfrm>
            <a:off x="18055059" y="680607"/>
            <a:ext cx="1011555" cy="467995"/>
            <a:chOff x="18055059" y="680607"/>
            <a:chExt cx="1011555" cy="467995"/>
          </a:xfrm>
        </p:grpSpPr>
        <p:pic>
          <p:nvPicPr>
            <p:cNvPr id="31" name="object 4">
              <a:extLst>
                <a:ext uri="{FF2B5EF4-FFF2-40B4-BE49-F238E27FC236}">
                  <a16:creationId xmlns:a16="http://schemas.microsoft.com/office/drawing/2014/main" id="{ABBCCA30-42EE-BB55-0FF1-57E6F4490529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065731" y="683266"/>
              <a:ext cx="91557" cy="243814"/>
            </a:xfrm>
            <a:prstGeom prst="rect">
              <a:avLst/>
            </a:prstGeom>
          </p:spPr>
        </p:pic>
        <p:pic>
          <p:nvPicPr>
            <p:cNvPr id="33" name="object 5">
              <a:extLst>
                <a:ext uri="{FF2B5EF4-FFF2-40B4-BE49-F238E27FC236}">
                  <a16:creationId xmlns:a16="http://schemas.microsoft.com/office/drawing/2014/main" id="{B8FDF681-ABFB-7F66-FF16-96EC9B23F14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8196176" y="683267"/>
              <a:ext cx="157984" cy="188088"/>
            </a:xfrm>
            <a:prstGeom prst="rect">
              <a:avLst/>
            </a:prstGeom>
          </p:spPr>
        </p:pic>
        <p:pic>
          <p:nvPicPr>
            <p:cNvPr id="34" name="object 6">
              <a:extLst>
                <a:ext uri="{FF2B5EF4-FFF2-40B4-BE49-F238E27FC236}">
                  <a16:creationId xmlns:a16="http://schemas.microsoft.com/office/drawing/2014/main" id="{44A85464-A38A-6145-56BB-4CE3D482788F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8384343" y="680607"/>
              <a:ext cx="284270" cy="190758"/>
            </a:xfrm>
            <a:prstGeom prst="rect">
              <a:avLst/>
            </a:prstGeom>
          </p:spPr>
        </p:pic>
        <p:sp>
          <p:nvSpPr>
            <p:cNvPr id="35" name="object 7">
              <a:extLst>
                <a:ext uri="{FF2B5EF4-FFF2-40B4-BE49-F238E27FC236}">
                  <a16:creationId xmlns:a16="http://schemas.microsoft.com/office/drawing/2014/main" id="{5FB6C1F4-6B58-0D50-1822-CA872078A830}"/>
                </a:ext>
              </a:extLst>
            </p:cNvPr>
            <p:cNvSpPr/>
            <p:nvPr/>
          </p:nvSpPr>
          <p:spPr>
            <a:xfrm>
              <a:off x="18695001" y="683267"/>
              <a:ext cx="50165" cy="186055"/>
            </a:xfrm>
            <a:custGeom>
              <a:avLst/>
              <a:gdLst/>
              <a:ahLst/>
              <a:cxnLst/>
              <a:rect l="l" t="t" r="r" b="b"/>
              <a:pathLst>
                <a:path w="50165" h="186055">
                  <a:moveTo>
                    <a:pt x="50134" y="0"/>
                  </a:moveTo>
                  <a:lnTo>
                    <a:pt x="0" y="0"/>
                  </a:lnTo>
                  <a:lnTo>
                    <a:pt x="0" y="185554"/>
                  </a:lnTo>
                  <a:lnTo>
                    <a:pt x="50134" y="185554"/>
                  </a:lnTo>
                  <a:lnTo>
                    <a:pt x="50134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8">
              <a:extLst>
                <a:ext uri="{FF2B5EF4-FFF2-40B4-BE49-F238E27FC236}">
                  <a16:creationId xmlns:a16="http://schemas.microsoft.com/office/drawing/2014/main" id="{F2E29D5C-A7FF-ADB8-7AFA-C4D9695BCCAE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778226" y="680607"/>
              <a:ext cx="146738" cy="190758"/>
            </a:xfrm>
            <a:prstGeom prst="rect">
              <a:avLst/>
            </a:prstGeom>
          </p:spPr>
        </p:pic>
        <p:sp>
          <p:nvSpPr>
            <p:cNvPr id="37" name="object 9">
              <a:extLst>
                <a:ext uri="{FF2B5EF4-FFF2-40B4-BE49-F238E27FC236}">
                  <a16:creationId xmlns:a16="http://schemas.microsoft.com/office/drawing/2014/main" id="{78F51688-6B85-6683-77FE-07B16398A124}"/>
                </a:ext>
              </a:extLst>
            </p:cNvPr>
            <p:cNvSpPr/>
            <p:nvPr/>
          </p:nvSpPr>
          <p:spPr>
            <a:xfrm>
              <a:off x="18952884" y="683411"/>
              <a:ext cx="109855" cy="185420"/>
            </a:xfrm>
            <a:custGeom>
              <a:avLst/>
              <a:gdLst/>
              <a:ahLst/>
              <a:cxnLst/>
              <a:rect l="l" t="t" r="r" b="b"/>
              <a:pathLst>
                <a:path w="109855" h="185419">
                  <a:moveTo>
                    <a:pt x="109601" y="0"/>
                  </a:moveTo>
                  <a:lnTo>
                    <a:pt x="0" y="0"/>
                  </a:lnTo>
                  <a:lnTo>
                    <a:pt x="0" y="40640"/>
                  </a:lnTo>
                  <a:lnTo>
                    <a:pt x="0" y="69850"/>
                  </a:lnTo>
                  <a:lnTo>
                    <a:pt x="0" y="109220"/>
                  </a:lnTo>
                  <a:lnTo>
                    <a:pt x="0" y="144780"/>
                  </a:lnTo>
                  <a:lnTo>
                    <a:pt x="0" y="185420"/>
                  </a:lnTo>
                  <a:lnTo>
                    <a:pt x="109601" y="185420"/>
                  </a:lnTo>
                  <a:lnTo>
                    <a:pt x="109601" y="144780"/>
                  </a:lnTo>
                  <a:lnTo>
                    <a:pt x="49885" y="144780"/>
                  </a:lnTo>
                  <a:lnTo>
                    <a:pt x="49885" y="109220"/>
                  </a:lnTo>
                  <a:lnTo>
                    <a:pt x="105181" y="109220"/>
                  </a:lnTo>
                  <a:lnTo>
                    <a:pt x="105181" y="69850"/>
                  </a:lnTo>
                  <a:lnTo>
                    <a:pt x="49885" y="69850"/>
                  </a:lnTo>
                  <a:lnTo>
                    <a:pt x="49885" y="40640"/>
                  </a:lnTo>
                  <a:lnTo>
                    <a:pt x="109601" y="40640"/>
                  </a:lnTo>
                  <a:lnTo>
                    <a:pt x="109601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10">
              <a:extLst>
                <a:ext uri="{FF2B5EF4-FFF2-40B4-BE49-F238E27FC236}">
                  <a16:creationId xmlns:a16="http://schemas.microsoft.com/office/drawing/2014/main" id="{B5D74ACE-9773-73BD-1E52-D3C22D7E0B6B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055059" y="965618"/>
              <a:ext cx="235657" cy="180287"/>
            </a:xfrm>
            <a:prstGeom prst="rect">
              <a:avLst/>
            </a:prstGeom>
          </p:spPr>
        </p:pic>
        <p:sp>
          <p:nvSpPr>
            <p:cNvPr id="39" name="object 11">
              <a:extLst>
                <a:ext uri="{FF2B5EF4-FFF2-40B4-BE49-F238E27FC236}">
                  <a16:creationId xmlns:a16="http://schemas.microsoft.com/office/drawing/2014/main" id="{6CBADF5D-887F-B94E-F801-64FDC82B8976}"/>
                </a:ext>
              </a:extLst>
            </p:cNvPr>
            <p:cNvSpPr/>
            <p:nvPr/>
          </p:nvSpPr>
          <p:spPr>
            <a:xfrm>
              <a:off x="18316233" y="965566"/>
              <a:ext cx="362585" cy="180340"/>
            </a:xfrm>
            <a:custGeom>
              <a:avLst/>
              <a:gdLst/>
              <a:ahLst/>
              <a:cxnLst/>
              <a:rect l="l" t="t" r="r" b="b"/>
              <a:pathLst>
                <a:path w="362584" h="180340">
                  <a:moveTo>
                    <a:pt x="29476" y="50"/>
                  </a:moveTo>
                  <a:lnTo>
                    <a:pt x="0" y="50"/>
                  </a:lnTo>
                  <a:lnTo>
                    <a:pt x="0" y="180340"/>
                  </a:lnTo>
                  <a:lnTo>
                    <a:pt x="29476" y="180340"/>
                  </a:lnTo>
                  <a:lnTo>
                    <a:pt x="29476" y="50"/>
                  </a:lnTo>
                  <a:close/>
                </a:path>
                <a:path w="362584" h="180340">
                  <a:moveTo>
                    <a:pt x="192379" y="0"/>
                  </a:moveTo>
                  <a:lnTo>
                    <a:pt x="56845" y="0"/>
                  </a:lnTo>
                  <a:lnTo>
                    <a:pt x="56845" y="25400"/>
                  </a:lnTo>
                  <a:lnTo>
                    <a:pt x="109880" y="25400"/>
                  </a:lnTo>
                  <a:lnTo>
                    <a:pt x="109880" y="180340"/>
                  </a:lnTo>
                  <a:lnTo>
                    <a:pt x="139344" y="180340"/>
                  </a:lnTo>
                  <a:lnTo>
                    <a:pt x="139344" y="25400"/>
                  </a:lnTo>
                  <a:lnTo>
                    <a:pt x="192379" y="25400"/>
                  </a:lnTo>
                  <a:lnTo>
                    <a:pt x="192379" y="0"/>
                  </a:lnTo>
                  <a:close/>
                </a:path>
                <a:path w="362584" h="180340">
                  <a:moveTo>
                    <a:pt x="362191" y="0"/>
                  </a:moveTo>
                  <a:lnTo>
                    <a:pt x="332587" y="0"/>
                  </a:lnTo>
                  <a:lnTo>
                    <a:pt x="332587" y="73660"/>
                  </a:lnTo>
                  <a:lnTo>
                    <a:pt x="249478" y="73660"/>
                  </a:lnTo>
                  <a:lnTo>
                    <a:pt x="249478" y="0"/>
                  </a:lnTo>
                  <a:lnTo>
                    <a:pt x="220002" y="0"/>
                  </a:lnTo>
                  <a:lnTo>
                    <a:pt x="220002" y="73660"/>
                  </a:lnTo>
                  <a:lnTo>
                    <a:pt x="220002" y="99060"/>
                  </a:lnTo>
                  <a:lnTo>
                    <a:pt x="220002" y="180340"/>
                  </a:lnTo>
                  <a:lnTo>
                    <a:pt x="249478" y="180340"/>
                  </a:lnTo>
                  <a:lnTo>
                    <a:pt x="249478" y="99060"/>
                  </a:lnTo>
                  <a:lnTo>
                    <a:pt x="332587" y="99060"/>
                  </a:lnTo>
                  <a:lnTo>
                    <a:pt x="332587" y="180340"/>
                  </a:lnTo>
                  <a:lnTo>
                    <a:pt x="362191" y="180340"/>
                  </a:lnTo>
                  <a:lnTo>
                    <a:pt x="362191" y="99060"/>
                  </a:lnTo>
                  <a:lnTo>
                    <a:pt x="362191" y="73660"/>
                  </a:lnTo>
                  <a:lnTo>
                    <a:pt x="362191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0" name="object 12">
              <a:extLst>
                <a:ext uri="{FF2B5EF4-FFF2-40B4-BE49-F238E27FC236}">
                  <a16:creationId xmlns:a16="http://schemas.microsoft.com/office/drawing/2014/main" id="{71FE535B-FE57-79F6-E4A0-2BE2C4E53236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8717022" y="962781"/>
              <a:ext cx="168947" cy="185596"/>
            </a:xfrm>
            <a:prstGeom prst="rect">
              <a:avLst/>
            </a:prstGeom>
          </p:spPr>
        </p:pic>
        <p:pic>
          <p:nvPicPr>
            <p:cNvPr id="41" name="object 13">
              <a:extLst>
                <a:ext uri="{FF2B5EF4-FFF2-40B4-BE49-F238E27FC236}">
                  <a16:creationId xmlns:a16="http://schemas.microsoft.com/office/drawing/2014/main" id="{3149D3DB-9920-0A60-F90B-3173F99FBD65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8923085" y="965618"/>
              <a:ext cx="142927" cy="182758"/>
            </a:xfrm>
            <a:prstGeom prst="rect">
              <a:avLst/>
            </a:prstGeom>
          </p:spPr>
        </p:pic>
      </p:grpSp>
      <p:sp>
        <p:nvSpPr>
          <p:cNvPr id="42" name="object 14">
            <a:extLst>
              <a:ext uri="{FF2B5EF4-FFF2-40B4-BE49-F238E27FC236}">
                <a16:creationId xmlns:a16="http://schemas.microsoft.com/office/drawing/2014/main" id="{227C4C00-786E-1002-6690-0C0DA51B5E50}"/>
              </a:ext>
            </a:extLst>
          </p:cNvPr>
          <p:cNvSpPr/>
          <p:nvPr userDrawn="1"/>
        </p:nvSpPr>
        <p:spPr>
          <a:xfrm>
            <a:off x="19091898" y="965566"/>
            <a:ext cx="135890" cy="180340"/>
          </a:xfrm>
          <a:custGeom>
            <a:avLst/>
            <a:gdLst/>
            <a:ahLst/>
            <a:cxnLst/>
            <a:rect l="l" t="t" r="r" b="b"/>
            <a:pathLst>
              <a:path w="135890" h="180340">
                <a:moveTo>
                  <a:pt x="135534" y="0"/>
                </a:moveTo>
                <a:lnTo>
                  <a:pt x="0" y="0"/>
                </a:lnTo>
                <a:lnTo>
                  <a:pt x="0" y="25400"/>
                </a:lnTo>
                <a:lnTo>
                  <a:pt x="53022" y="25400"/>
                </a:lnTo>
                <a:lnTo>
                  <a:pt x="53022" y="180340"/>
                </a:lnTo>
                <a:lnTo>
                  <a:pt x="82499" y="180340"/>
                </a:lnTo>
                <a:lnTo>
                  <a:pt x="82499" y="25400"/>
                </a:lnTo>
                <a:lnTo>
                  <a:pt x="135534" y="25400"/>
                </a:lnTo>
                <a:lnTo>
                  <a:pt x="1355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15">
            <a:extLst>
              <a:ext uri="{FF2B5EF4-FFF2-40B4-BE49-F238E27FC236}">
                <a16:creationId xmlns:a16="http://schemas.microsoft.com/office/drawing/2014/main" id="{128F738E-BEA7-1A9A-8C2C-928A3903E91C}"/>
              </a:ext>
            </a:extLst>
          </p:cNvPr>
          <p:cNvSpPr/>
          <p:nvPr userDrawn="1"/>
        </p:nvSpPr>
        <p:spPr>
          <a:xfrm>
            <a:off x="18065725" y="1229409"/>
            <a:ext cx="142875" cy="180975"/>
          </a:xfrm>
          <a:custGeom>
            <a:avLst/>
            <a:gdLst/>
            <a:ahLst/>
            <a:cxnLst/>
            <a:rect l="l" t="t" r="r" b="b"/>
            <a:pathLst>
              <a:path w="142875" h="180975">
                <a:moveTo>
                  <a:pt x="98767" y="169291"/>
                </a:moveTo>
                <a:lnTo>
                  <a:pt x="12598" y="169291"/>
                </a:lnTo>
                <a:lnTo>
                  <a:pt x="12598" y="381"/>
                </a:lnTo>
                <a:lnTo>
                  <a:pt x="0" y="381"/>
                </a:lnTo>
                <a:lnTo>
                  <a:pt x="0" y="169291"/>
                </a:lnTo>
                <a:lnTo>
                  <a:pt x="0" y="180721"/>
                </a:lnTo>
                <a:lnTo>
                  <a:pt x="98767" y="180721"/>
                </a:lnTo>
                <a:lnTo>
                  <a:pt x="98767" y="169291"/>
                </a:lnTo>
                <a:close/>
              </a:path>
              <a:path w="142875" h="180975">
                <a:moveTo>
                  <a:pt x="142532" y="0"/>
                </a:moveTo>
                <a:lnTo>
                  <a:pt x="129921" y="0"/>
                </a:lnTo>
                <a:lnTo>
                  <a:pt x="129921" y="180733"/>
                </a:lnTo>
                <a:lnTo>
                  <a:pt x="142532" y="180733"/>
                </a:lnTo>
                <a:lnTo>
                  <a:pt x="142532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4" name="object 16">
            <a:extLst>
              <a:ext uri="{FF2B5EF4-FFF2-40B4-BE49-F238E27FC236}">
                <a16:creationId xmlns:a16="http://schemas.microsoft.com/office/drawing/2014/main" id="{EE767C1E-0307-111B-020D-FF490A14F214}"/>
              </a:ext>
            </a:extLst>
          </p:cNvPr>
          <p:cNvGrpSpPr/>
          <p:nvPr userDrawn="1"/>
        </p:nvGrpSpPr>
        <p:grpSpPr>
          <a:xfrm>
            <a:off x="18235083" y="1226554"/>
            <a:ext cx="1077595" cy="186055"/>
            <a:chOff x="18235083" y="1226554"/>
            <a:chExt cx="1077595" cy="186055"/>
          </a:xfrm>
        </p:grpSpPr>
        <p:sp>
          <p:nvSpPr>
            <p:cNvPr id="45" name="object 17">
              <a:extLst>
                <a:ext uri="{FF2B5EF4-FFF2-40B4-BE49-F238E27FC236}">
                  <a16:creationId xmlns:a16="http://schemas.microsoft.com/office/drawing/2014/main" id="{300C3ADE-8DC4-FE7C-FD51-D23B77600441}"/>
                </a:ext>
              </a:extLst>
            </p:cNvPr>
            <p:cNvSpPr/>
            <p:nvPr/>
          </p:nvSpPr>
          <p:spPr>
            <a:xfrm>
              <a:off x="18235080" y="1229409"/>
              <a:ext cx="170180" cy="180975"/>
            </a:xfrm>
            <a:custGeom>
              <a:avLst/>
              <a:gdLst/>
              <a:ahLst/>
              <a:cxnLst/>
              <a:rect l="l" t="t" r="r" b="b"/>
              <a:pathLst>
                <a:path w="170180" h="180975">
                  <a:moveTo>
                    <a:pt x="130175" y="381"/>
                  </a:moveTo>
                  <a:lnTo>
                    <a:pt x="0" y="381"/>
                  </a:lnTo>
                  <a:lnTo>
                    <a:pt x="0" y="11811"/>
                  </a:lnTo>
                  <a:lnTo>
                    <a:pt x="58724" y="11811"/>
                  </a:lnTo>
                  <a:lnTo>
                    <a:pt x="58724" y="180721"/>
                  </a:lnTo>
                  <a:lnTo>
                    <a:pt x="71450" y="180721"/>
                  </a:lnTo>
                  <a:lnTo>
                    <a:pt x="71450" y="11811"/>
                  </a:lnTo>
                  <a:lnTo>
                    <a:pt x="130175" y="11811"/>
                  </a:lnTo>
                  <a:lnTo>
                    <a:pt x="130175" y="381"/>
                  </a:lnTo>
                  <a:close/>
                </a:path>
                <a:path w="170180" h="180975">
                  <a:moveTo>
                    <a:pt x="169608" y="0"/>
                  </a:moveTo>
                  <a:lnTo>
                    <a:pt x="156997" y="0"/>
                  </a:lnTo>
                  <a:lnTo>
                    <a:pt x="156997" y="180733"/>
                  </a:lnTo>
                  <a:lnTo>
                    <a:pt x="169608" y="180733"/>
                  </a:lnTo>
                  <a:lnTo>
                    <a:pt x="169608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6" name="object 18">
              <a:extLst>
                <a:ext uri="{FF2B5EF4-FFF2-40B4-BE49-F238E27FC236}">
                  <a16:creationId xmlns:a16="http://schemas.microsoft.com/office/drawing/2014/main" id="{3508BF80-2107-7E20-18D6-542589FD3101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8446220" y="1226554"/>
              <a:ext cx="147367" cy="186046"/>
            </a:xfrm>
            <a:prstGeom prst="rect">
              <a:avLst/>
            </a:prstGeom>
          </p:spPr>
        </p:pic>
        <p:pic>
          <p:nvPicPr>
            <p:cNvPr id="47" name="object 19">
              <a:extLst>
                <a:ext uri="{FF2B5EF4-FFF2-40B4-BE49-F238E27FC236}">
                  <a16:creationId xmlns:a16="http://schemas.microsoft.com/office/drawing/2014/main" id="{4E4A2DB1-6206-91F8-36D1-BD8BCCC51082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8613357" y="1228662"/>
              <a:ext cx="283342" cy="181470"/>
            </a:xfrm>
            <a:prstGeom prst="rect">
              <a:avLst/>
            </a:prstGeom>
          </p:spPr>
        </p:pic>
        <p:sp>
          <p:nvSpPr>
            <p:cNvPr id="48" name="object 20">
              <a:extLst>
                <a:ext uri="{FF2B5EF4-FFF2-40B4-BE49-F238E27FC236}">
                  <a16:creationId xmlns:a16="http://schemas.microsoft.com/office/drawing/2014/main" id="{F9CB9849-B0A4-99D9-8E0E-0B8D1ABB1A09}"/>
                </a:ext>
              </a:extLst>
            </p:cNvPr>
            <p:cNvSpPr/>
            <p:nvPr/>
          </p:nvSpPr>
          <p:spPr>
            <a:xfrm>
              <a:off x="18923528" y="1229407"/>
              <a:ext cx="12700" cy="180975"/>
            </a:xfrm>
            <a:custGeom>
              <a:avLst/>
              <a:gdLst/>
              <a:ahLst/>
              <a:cxnLst/>
              <a:rect l="l" t="t" r="r" b="b"/>
              <a:pathLst>
                <a:path w="12700" h="180975">
                  <a:moveTo>
                    <a:pt x="12606" y="0"/>
                  </a:moveTo>
                  <a:lnTo>
                    <a:pt x="0" y="0"/>
                  </a:lnTo>
                  <a:lnTo>
                    <a:pt x="0" y="180727"/>
                  </a:lnTo>
                  <a:lnTo>
                    <a:pt x="12606" y="180727"/>
                  </a:lnTo>
                  <a:lnTo>
                    <a:pt x="12606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9" name="object 21">
              <a:extLst>
                <a:ext uri="{FF2B5EF4-FFF2-40B4-BE49-F238E27FC236}">
                  <a16:creationId xmlns:a16="http://schemas.microsoft.com/office/drawing/2014/main" id="{EF5CE092-A781-5612-97CF-0CAB01CB1E8D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8977667" y="1226555"/>
              <a:ext cx="161576" cy="186046"/>
            </a:xfrm>
            <a:prstGeom prst="rect">
              <a:avLst/>
            </a:prstGeom>
          </p:spPr>
        </p:pic>
        <p:pic>
          <p:nvPicPr>
            <p:cNvPr id="50" name="object 22">
              <a:extLst>
                <a:ext uri="{FF2B5EF4-FFF2-40B4-BE49-F238E27FC236}">
                  <a16:creationId xmlns:a16="http://schemas.microsoft.com/office/drawing/2014/main" id="{6FB3AD6B-6716-6E45-4579-A09069FE75FA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9180778" y="1229403"/>
              <a:ext cx="131409" cy="180727"/>
            </a:xfrm>
            <a:prstGeom prst="rect">
              <a:avLst/>
            </a:prstGeom>
          </p:spPr>
        </p:pic>
      </p:grpSp>
      <p:sp>
        <p:nvSpPr>
          <p:cNvPr id="51" name="object 23">
            <a:extLst>
              <a:ext uri="{FF2B5EF4-FFF2-40B4-BE49-F238E27FC236}">
                <a16:creationId xmlns:a16="http://schemas.microsoft.com/office/drawing/2014/main" id="{FBB76F9C-9251-416E-C88B-B4CB0DEC4FA2}"/>
              </a:ext>
            </a:extLst>
          </p:cNvPr>
          <p:cNvSpPr/>
          <p:nvPr userDrawn="1"/>
        </p:nvSpPr>
        <p:spPr>
          <a:xfrm>
            <a:off x="17305002" y="681277"/>
            <a:ext cx="513715" cy="76200"/>
          </a:xfrm>
          <a:custGeom>
            <a:avLst/>
            <a:gdLst/>
            <a:ahLst/>
            <a:cxnLst/>
            <a:rect l="l" t="t" r="r" b="b"/>
            <a:pathLst>
              <a:path w="513715" h="76200">
                <a:moveTo>
                  <a:pt x="513418" y="0"/>
                </a:moveTo>
                <a:lnTo>
                  <a:pt x="0" y="0"/>
                </a:lnTo>
                <a:lnTo>
                  <a:pt x="0" y="76050"/>
                </a:lnTo>
                <a:lnTo>
                  <a:pt x="513418" y="76050"/>
                </a:lnTo>
                <a:lnTo>
                  <a:pt x="513418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Inhaltsplatzhalter 52">
            <a:extLst>
              <a:ext uri="{FF2B5EF4-FFF2-40B4-BE49-F238E27FC236}">
                <a16:creationId xmlns:a16="http://schemas.microsoft.com/office/drawing/2014/main" id="{A82CE079-35E1-D408-D03C-736721997C6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606550" y="4978400"/>
            <a:ext cx="7200000" cy="2339102"/>
          </a:xfrm>
        </p:spPr>
        <p:txBody>
          <a:bodyPr/>
          <a:lstStyle>
            <a:lvl1pPr>
              <a:defRPr sz="40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800">
                <a:latin typeface="+mn-lt"/>
              </a:defRPr>
            </a:lvl3pPr>
            <a:lvl4pPr>
              <a:defRPr sz="2800">
                <a:latin typeface="+mn-lt"/>
              </a:defRPr>
            </a:lvl4pPr>
            <a:lvl5pPr>
              <a:defRPr sz="2800">
                <a:latin typeface="+mn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20</a:t>
            </a:r>
          </a:p>
        </p:txBody>
      </p:sp>
      <p:sp>
        <p:nvSpPr>
          <p:cNvPr id="54" name="Textplatzhalter 6">
            <a:extLst>
              <a:ext uri="{FF2B5EF4-FFF2-40B4-BE49-F238E27FC236}">
                <a16:creationId xmlns:a16="http://schemas.microsoft.com/office/drawing/2014/main" id="{D8209D3E-FADF-B6C2-95D1-A95ABEF25C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9650" y="5087372"/>
            <a:ext cx="7200000" cy="1338828"/>
          </a:xfrm>
        </p:spPr>
        <p:txBody>
          <a:bodyPr/>
          <a:lstStyle>
            <a:lvl1pPr>
              <a:defRPr sz="2900" b="0">
                <a:solidFill>
                  <a:schemeClr val="tx1"/>
                </a:solidFill>
                <a:latin typeface="+mj-lt"/>
              </a:defRPr>
            </a:lvl1pPr>
            <a:lvl2pPr>
              <a:defRPr sz="2900"/>
            </a:lvl2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55" name="object 27">
            <a:extLst>
              <a:ext uri="{FF2B5EF4-FFF2-40B4-BE49-F238E27FC236}">
                <a16:creationId xmlns:a16="http://schemas.microsoft.com/office/drawing/2014/main" id="{206AB66D-308F-5300-A134-9C546A265A61}"/>
              </a:ext>
            </a:extLst>
          </p:cNvPr>
          <p:cNvSpPr/>
          <p:nvPr userDrawn="1"/>
        </p:nvSpPr>
        <p:spPr>
          <a:xfrm>
            <a:off x="16098986" y="11673393"/>
            <a:ext cx="4005579" cy="677545"/>
          </a:xfrm>
          <a:custGeom>
            <a:avLst/>
            <a:gdLst/>
            <a:ahLst/>
            <a:cxnLst/>
            <a:rect l="l" t="t" r="r" b="b"/>
            <a:pathLst>
              <a:path w="4005580" h="677545">
                <a:moveTo>
                  <a:pt x="4005113" y="0"/>
                </a:moveTo>
                <a:lnTo>
                  <a:pt x="0" y="0"/>
                </a:lnTo>
                <a:lnTo>
                  <a:pt x="0" y="677036"/>
                </a:lnTo>
                <a:lnTo>
                  <a:pt x="4005113" y="67703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Textplatzhalter 34">
            <a:extLst>
              <a:ext uri="{FF2B5EF4-FFF2-40B4-BE49-F238E27FC236}">
                <a16:creationId xmlns:a16="http://schemas.microsoft.com/office/drawing/2014/main" id="{EB56FA8C-3858-515A-33BE-BC0315C6A8C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12069" y="2633271"/>
            <a:ext cx="13833061" cy="769441"/>
          </a:xfrm>
        </p:spPr>
        <p:txBody>
          <a:bodyPr/>
          <a:lstStyle>
            <a:lvl1pPr>
              <a:defRPr sz="50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4000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6000">
                <a:latin typeface="+mj-lt"/>
              </a:defRPr>
            </a:lvl3pPr>
            <a:lvl4pPr>
              <a:defRPr sz="6000">
                <a:latin typeface="+mj-lt"/>
              </a:defRPr>
            </a:lvl4pPr>
            <a:lvl5pPr>
              <a:defRPr sz="6000">
                <a:latin typeface="+mj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069548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F47D03-739D-D4DC-FFAA-BA72C962E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1112" y="1399683"/>
            <a:ext cx="13927338" cy="923330"/>
          </a:xfrm>
        </p:spPr>
        <p:txBody>
          <a:bodyPr/>
          <a:lstStyle>
            <a:lvl1pPr>
              <a:defRPr sz="60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F0C7E04-8B71-FEC6-1C1A-A3CC7CF6E3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JUSTICE WITHOUT LITIGATION II - ECONOMIC PART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A192B04-9983-C054-884B-977902B38BB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12th March 2025 | Rom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5D6F7-F4AB-1D2D-31D3-0558EEB8F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38100">
              <a:lnSpc>
                <a:spcPct val="100000"/>
              </a:lnSpc>
              <a:spcBef>
                <a:spcPts val="85"/>
              </a:spcBef>
            </a:pPr>
            <a:fld id="{81D60167-4931-47E6-BA6A-407CBD079E47}" type="slidenum">
              <a:rPr lang="de-DE" spc="15" smtClean="0"/>
              <a:t>‹#›</a:t>
            </a:fld>
            <a:endParaRPr lang="de-DE" spc="15" dirty="0"/>
          </a:p>
        </p:txBody>
      </p:sp>
      <p:sp>
        <p:nvSpPr>
          <p:cNvPr id="28" name="object 23">
            <a:extLst>
              <a:ext uri="{FF2B5EF4-FFF2-40B4-BE49-F238E27FC236}">
                <a16:creationId xmlns:a16="http://schemas.microsoft.com/office/drawing/2014/main" id="{BFD4C767-559D-B761-6434-849A19035F02}"/>
              </a:ext>
            </a:extLst>
          </p:cNvPr>
          <p:cNvSpPr/>
          <p:nvPr userDrawn="1"/>
        </p:nvSpPr>
        <p:spPr>
          <a:xfrm>
            <a:off x="497344" y="0"/>
            <a:ext cx="630555" cy="4417695"/>
          </a:xfrm>
          <a:custGeom>
            <a:avLst/>
            <a:gdLst/>
            <a:ahLst/>
            <a:cxnLst/>
            <a:rect l="l" t="t" r="r" b="b"/>
            <a:pathLst>
              <a:path w="630555" h="4417695">
                <a:moveTo>
                  <a:pt x="630242" y="4083639"/>
                </a:moveTo>
                <a:lnTo>
                  <a:pt x="630242" y="4073744"/>
                </a:lnTo>
                <a:lnTo>
                  <a:pt x="630106" y="4073859"/>
                </a:lnTo>
                <a:lnTo>
                  <a:pt x="629855" y="4074090"/>
                </a:lnTo>
                <a:lnTo>
                  <a:pt x="629855" y="0"/>
                </a:lnTo>
              </a:path>
              <a:path w="630555" h="4417695">
                <a:moveTo>
                  <a:pt x="2434" y="0"/>
                </a:moveTo>
                <a:lnTo>
                  <a:pt x="0" y="2699357"/>
                </a:lnTo>
                <a:lnTo>
                  <a:pt x="0" y="4417388"/>
                </a:lnTo>
                <a:lnTo>
                  <a:pt x="49735" y="4401593"/>
                </a:lnTo>
                <a:lnTo>
                  <a:pt x="98845" y="4384492"/>
                </a:lnTo>
                <a:lnTo>
                  <a:pt x="147304" y="4366102"/>
                </a:lnTo>
                <a:lnTo>
                  <a:pt x="195086" y="4346440"/>
                </a:lnTo>
                <a:lnTo>
                  <a:pt x="242168" y="4325523"/>
                </a:lnTo>
                <a:lnTo>
                  <a:pt x="288524" y="4303369"/>
                </a:lnTo>
                <a:lnTo>
                  <a:pt x="334129" y="4279994"/>
                </a:lnTo>
                <a:lnTo>
                  <a:pt x="378959" y="4255416"/>
                </a:lnTo>
                <a:lnTo>
                  <a:pt x="422987" y="4229652"/>
                </a:lnTo>
                <a:lnTo>
                  <a:pt x="466190" y="4202719"/>
                </a:lnTo>
                <a:lnTo>
                  <a:pt x="508541" y="4174634"/>
                </a:lnTo>
                <a:lnTo>
                  <a:pt x="550017" y="4145414"/>
                </a:lnTo>
                <a:lnTo>
                  <a:pt x="590593" y="4115077"/>
                </a:lnTo>
                <a:lnTo>
                  <a:pt x="630242" y="4083639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5355E5FF-E425-E1F3-2252-042EB33A5853}"/>
              </a:ext>
            </a:extLst>
          </p:cNvPr>
          <p:cNvSpPr/>
          <p:nvPr userDrawn="1"/>
        </p:nvSpPr>
        <p:spPr>
          <a:xfrm>
            <a:off x="17231199" y="834965"/>
            <a:ext cx="587375" cy="579755"/>
          </a:xfrm>
          <a:custGeom>
            <a:avLst/>
            <a:gdLst/>
            <a:ahLst/>
            <a:cxnLst/>
            <a:rect l="l" t="t" r="r" b="b"/>
            <a:pathLst>
              <a:path w="587375" h="579755">
                <a:moveTo>
                  <a:pt x="587259" y="0"/>
                </a:moveTo>
                <a:lnTo>
                  <a:pt x="513460" y="0"/>
                </a:lnTo>
                <a:lnTo>
                  <a:pt x="513460" y="285687"/>
                </a:lnTo>
                <a:lnTo>
                  <a:pt x="507898" y="334898"/>
                </a:lnTo>
                <a:lnTo>
                  <a:pt x="492045" y="380220"/>
                </a:lnTo>
                <a:lnTo>
                  <a:pt x="467148" y="420422"/>
                </a:lnTo>
                <a:lnTo>
                  <a:pt x="434457" y="454279"/>
                </a:lnTo>
                <a:lnTo>
                  <a:pt x="434457" y="0"/>
                </a:lnTo>
                <a:lnTo>
                  <a:pt x="358407" y="0"/>
                </a:lnTo>
                <a:lnTo>
                  <a:pt x="358407" y="495754"/>
                </a:lnTo>
                <a:lnTo>
                  <a:pt x="342810" y="499947"/>
                </a:lnTo>
                <a:lnTo>
                  <a:pt x="326785" y="503005"/>
                </a:lnTo>
                <a:lnTo>
                  <a:pt x="310376" y="504877"/>
                </a:lnTo>
                <a:lnTo>
                  <a:pt x="293624" y="505513"/>
                </a:lnTo>
                <a:lnTo>
                  <a:pt x="249374" y="501039"/>
                </a:lnTo>
                <a:lnTo>
                  <a:pt x="208134" y="488212"/>
                </a:lnTo>
                <a:lnTo>
                  <a:pt x="170795" y="467921"/>
                </a:lnTo>
                <a:lnTo>
                  <a:pt x="138248" y="441058"/>
                </a:lnTo>
                <a:lnTo>
                  <a:pt x="111383" y="408513"/>
                </a:lnTo>
                <a:lnTo>
                  <a:pt x="91090" y="371175"/>
                </a:lnTo>
                <a:lnTo>
                  <a:pt x="78262" y="329937"/>
                </a:lnTo>
                <a:lnTo>
                  <a:pt x="73788" y="285687"/>
                </a:lnTo>
                <a:lnTo>
                  <a:pt x="73788" y="272431"/>
                </a:lnTo>
                <a:lnTo>
                  <a:pt x="0" y="272431"/>
                </a:lnTo>
                <a:lnTo>
                  <a:pt x="0" y="285687"/>
                </a:lnTo>
                <a:lnTo>
                  <a:pt x="3850" y="333251"/>
                </a:lnTo>
                <a:lnTo>
                  <a:pt x="14995" y="378394"/>
                </a:lnTo>
                <a:lnTo>
                  <a:pt x="32825" y="420508"/>
                </a:lnTo>
                <a:lnTo>
                  <a:pt x="56731" y="458984"/>
                </a:lnTo>
                <a:lnTo>
                  <a:pt x="86103" y="493212"/>
                </a:lnTo>
                <a:lnTo>
                  <a:pt x="120332" y="522583"/>
                </a:lnTo>
                <a:lnTo>
                  <a:pt x="158808" y="546488"/>
                </a:lnTo>
                <a:lnTo>
                  <a:pt x="200921" y="564317"/>
                </a:lnTo>
                <a:lnTo>
                  <a:pt x="246063" y="575462"/>
                </a:lnTo>
                <a:lnTo>
                  <a:pt x="293624" y="579312"/>
                </a:lnTo>
                <a:lnTo>
                  <a:pt x="341190" y="575462"/>
                </a:lnTo>
                <a:lnTo>
                  <a:pt x="386336" y="564317"/>
                </a:lnTo>
                <a:lnTo>
                  <a:pt x="428452" y="546488"/>
                </a:lnTo>
                <a:lnTo>
                  <a:pt x="466929" y="522583"/>
                </a:lnTo>
                <a:lnTo>
                  <a:pt x="501158" y="493212"/>
                </a:lnTo>
                <a:lnTo>
                  <a:pt x="530530" y="458984"/>
                </a:lnTo>
                <a:lnTo>
                  <a:pt x="554435" y="420508"/>
                </a:lnTo>
                <a:lnTo>
                  <a:pt x="572265" y="378394"/>
                </a:lnTo>
                <a:lnTo>
                  <a:pt x="583409" y="333251"/>
                </a:lnTo>
                <a:lnTo>
                  <a:pt x="587259" y="285687"/>
                </a:lnTo>
                <a:lnTo>
                  <a:pt x="587259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2D629713-AEAF-885E-A2DA-057F8F00F1BB}"/>
              </a:ext>
            </a:extLst>
          </p:cNvPr>
          <p:cNvGrpSpPr/>
          <p:nvPr userDrawn="1"/>
        </p:nvGrpSpPr>
        <p:grpSpPr>
          <a:xfrm>
            <a:off x="18055059" y="680607"/>
            <a:ext cx="1011555" cy="467995"/>
            <a:chOff x="18055059" y="680607"/>
            <a:chExt cx="1011555" cy="467995"/>
          </a:xfrm>
        </p:grpSpPr>
        <p:pic>
          <p:nvPicPr>
            <p:cNvPr id="31" name="object 4">
              <a:extLst>
                <a:ext uri="{FF2B5EF4-FFF2-40B4-BE49-F238E27FC236}">
                  <a16:creationId xmlns:a16="http://schemas.microsoft.com/office/drawing/2014/main" id="{ABBCCA30-42EE-BB55-0FF1-57E6F4490529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065731" y="683266"/>
              <a:ext cx="91557" cy="243814"/>
            </a:xfrm>
            <a:prstGeom prst="rect">
              <a:avLst/>
            </a:prstGeom>
          </p:spPr>
        </p:pic>
        <p:pic>
          <p:nvPicPr>
            <p:cNvPr id="33" name="object 5">
              <a:extLst>
                <a:ext uri="{FF2B5EF4-FFF2-40B4-BE49-F238E27FC236}">
                  <a16:creationId xmlns:a16="http://schemas.microsoft.com/office/drawing/2014/main" id="{B8FDF681-ABFB-7F66-FF16-96EC9B23F14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8196176" y="683267"/>
              <a:ext cx="157984" cy="188088"/>
            </a:xfrm>
            <a:prstGeom prst="rect">
              <a:avLst/>
            </a:prstGeom>
          </p:spPr>
        </p:pic>
        <p:pic>
          <p:nvPicPr>
            <p:cNvPr id="34" name="object 6">
              <a:extLst>
                <a:ext uri="{FF2B5EF4-FFF2-40B4-BE49-F238E27FC236}">
                  <a16:creationId xmlns:a16="http://schemas.microsoft.com/office/drawing/2014/main" id="{44A85464-A38A-6145-56BB-4CE3D482788F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8384343" y="680607"/>
              <a:ext cx="284270" cy="190758"/>
            </a:xfrm>
            <a:prstGeom prst="rect">
              <a:avLst/>
            </a:prstGeom>
          </p:spPr>
        </p:pic>
        <p:sp>
          <p:nvSpPr>
            <p:cNvPr id="35" name="object 7">
              <a:extLst>
                <a:ext uri="{FF2B5EF4-FFF2-40B4-BE49-F238E27FC236}">
                  <a16:creationId xmlns:a16="http://schemas.microsoft.com/office/drawing/2014/main" id="{5FB6C1F4-6B58-0D50-1822-CA872078A830}"/>
                </a:ext>
              </a:extLst>
            </p:cNvPr>
            <p:cNvSpPr/>
            <p:nvPr/>
          </p:nvSpPr>
          <p:spPr>
            <a:xfrm>
              <a:off x="18695001" y="683267"/>
              <a:ext cx="50165" cy="186055"/>
            </a:xfrm>
            <a:custGeom>
              <a:avLst/>
              <a:gdLst/>
              <a:ahLst/>
              <a:cxnLst/>
              <a:rect l="l" t="t" r="r" b="b"/>
              <a:pathLst>
                <a:path w="50165" h="186055">
                  <a:moveTo>
                    <a:pt x="50134" y="0"/>
                  </a:moveTo>
                  <a:lnTo>
                    <a:pt x="0" y="0"/>
                  </a:lnTo>
                  <a:lnTo>
                    <a:pt x="0" y="185554"/>
                  </a:lnTo>
                  <a:lnTo>
                    <a:pt x="50134" y="185554"/>
                  </a:lnTo>
                  <a:lnTo>
                    <a:pt x="50134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8">
              <a:extLst>
                <a:ext uri="{FF2B5EF4-FFF2-40B4-BE49-F238E27FC236}">
                  <a16:creationId xmlns:a16="http://schemas.microsoft.com/office/drawing/2014/main" id="{F2E29D5C-A7FF-ADB8-7AFA-C4D9695BCCAE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778226" y="680607"/>
              <a:ext cx="146738" cy="190758"/>
            </a:xfrm>
            <a:prstGeom prst="rect">
              <a:avLst/>
            </a:prstGeom>
          </p:spPr>
        </p:pic>
        <p:sp>
          <p:nvSpPr>
            <p:cNvPr id="37" name="object 9">
              <a:extLst>
                <a:ext uri="{FF2B5EF4-FFF2-40B4-BE49-F238E27FC236}">
                  <a16:creationId xmlns:a16="http://schemas.microsoft.com/office/drawing/2014/main" id="{78F51688-6B85-6683-77FE-07B16398A124}"/>
                </a:ext>
              </a:extLst>
            </p:cNvPr>
            <p:cNvSpPr/>
            <p:nvPr/>
          </p:nvSpPr>
          <p:spPr>
            <a:xfrm>
              <a:off x="18952884" y="683411"/>
              <a:ext cx="109855" cy="185420"/>
            </a:xfrm>
            <a:custGeom>
              <a:avLst/>
              <a:gdLst/>
              <a:ahLst/>
              <a:cxnLst/>
              <a:rect l="l" t="t" r="r" b="b"/>
              <a:pathLst>
                <a:path w="109855" h="185419">
                  <a:moveTo>
                    <a:pt x="109601" y="0"/>
                  </a:moveTo>
                  <a:lnTo>
                    <a:pt x="0" y="0"/>
                  </a:lnTo>
                  <a:lnTo>
                    <a:pt x="0" y="40640"/>
                  </a:lnTo>
                  <a:lnTo>
                    <a:pt x="0" y="69850"/>
                  </a:lnTo>
                  <a:lnTo>
                    <a:pt x="0" y="109220"/>
                  </a:lnTo>
                  <a:lnTo>
                    <a:pt x="0" y="144780"/>
                  </a:lnTo>
                  <a:lnTo>
                    <a:pt x="0" y="185420"/>
                  </a:lnTo>
                  <a:lnTo>
                    <a:pt x="109601" y="185420"/>
                  </a:lnTo>
                  <a:lnTo>
                    <a:pt x="109601" y="144780"/>
                  </a:lnTo>
                  <a:lnTo>
                    <a:pt x="49885" y="144780"/>
                  </a:lnTo>
                  <a:lnTo>
                    <a:pt x="49885" y="109220"/>
                  </a:lnTo>
                  <a:lnTo>
                    <a:pt x="105181" y="109220"/>
                  </a:lnTo>
                  <a:lnTo>
                    <a:pt x="105181" y="69850"/>
                  </a:lnTo>
                  <a:lnTo>
                    <a:pt x="49885" y="69850"/>
                  </a:lnTo>
                  <a:lnTo>
                    <a:pt x="49885" y="40640"/>
                  </a:lnTo>
                  <a:lnTo>
                    <a:pt x="109601" y="40640"/>
                  </a:lnTo>
                  <a:lnTo>
                    <a:pt x="109601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10">
              <a:extLst>
                <a:ext uri="{FF2B5EF4-FFF2-40B4-BE49-F238E27FC236}">
                  <a16:creationId xmlns:a16="http://schemas.microsoft.com/office/drawing/2014/main" id="{B5D74ACE-9773-73BD-1E52-D3C22D7E0B6B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055059" y="965618"/>
              <a:ext cx="235657" cy="180287"/>
            </a:xfrm>
            <a:prstGeom prst="rect">
              <a:avLst/>
            </a:prstGeom>
          </p:spPr>
        </p:pic>
        <p:sp>
          <p:nvSpPr>
            <p:cNvPr id="39" name="object 11">
              <a:extLst>
                <a:ext uri="{FF2B5EF4-FFF2-40B4-BE49-F238E27FC236}">
                  <a16:creationId xmlns:a16="http://schemas.microsoft.com/office/drawing/2014/main" id="{6CBADF5D-887F-B94E-F801-64FDC82B8976}"/>
                </a:ext>
              </a:extLst>
            </p:cNvPr>
            <p:cNvSpPr/>
            <p:nvPr/>
          </p:nvSpPr>
          <p:spPr>
            <a:xfrm>
              <a:off x="18316233" y="965566"/>
              <a:ext cx="362585" cy="180340"/>
            </a:xfrm>
            <a:custGeom>
              <a:avLst/>
              <a:gdLst/>
              <a:ahLst/>
              <a:cxnLst/>
              <a:rect l="l" t="t" r="r" b="b"/>
              <a:pathLst>
                <a:path w="362584" h="180340">
                  <a:moveTo>
                    <a:pt x="29476" y="50"/>
                  </a:moveTo>
                  <a:lnTo>
                    <a:pt x="0" y="50"/>
                  </a:lnTo>
                  <a:lnTo>
                    <a:pt x="0" y="180340"/>
                  </a:lnTo>
                  <a:lnTo>
                    <a:pt x="29476" y="180340"/>
                  </a:lnTo>
                  <a:lnTo>
                    <a:pt x="29476" y="50"/>
                  </a:lnTo>
                  <a:close/>
                </a:path>
                <a:path w="362584" h="180340">
                  <a:moveTo>
                    <a:pt x="192379" y="0"/>
                  </a:moveTo>
                  <a:lnTo>
                    <a:pt x="56845" y="0"/>
                  </a:lnTo>
                  <a:lnTo>
                    <a:pt x="56845" y="25400"/>
                  </a:lnTo>
                  <a:lnTo>
                    <a:pt x="109880" y="25400"/>
                  </a:lnTo>
                  <a:lnTo>
                    <a:pt x="109880" y="180340"/>
                  </a:lnTo>
                  <a:lnTo>
                    <a:pt x="139344" y="180340"/>
                  </a:lnTo>
                  <a:lnTo>
                    <a:pt x="139344" y="25400"/>
                  </a:lnTo>
                  <a:lnTo>
                    <a:pt x="192379" y="25400"/>
                  </a:lnTo>
                  <a:lnTo>
                    <a:pt x="192379" y="0"/>
                  </a:lnTo>
                  <a:close/>
                </a:path>
                <a:path w="362584" h="180340">
                  <a:moveTo>
                    <a:pt x="362191" y="0"/>
                  </a:moveTo>
                  <a:lnTo>
                    <a:pt x="332587" y="0"/>
                  </a:lnTo>
                  <a:lnTo>
                    <a:pt x="332587" y="73660"/>
                  </a:lnTo>
                  <a:lnTo>
                    <a:pt x="249478" y="73660"/>
                  </a:lnTo>
                  <a:lnTo>
                    <a:pt x="249478" y="0"/>
                  </a:lnTo>
                  <a:lnTo>
                    <a:pt x="220002" y="0"/>
                  </a:lnTo>
                  <a:lnTo>
                    <a:pt x="220002" y="73660"/>
                  </a:lnTo>
                  <a:lnTo>
                    <a:pt x="220002" y="99060"/>
                  </a:lnTo>
                  <a:lnTo>
                    <a:pt x="220002" y="180340"/>
                  </a:lnTo>
                  <a:lnTo>
                    <a:pt x="249478" y="180340"/>
                  </a:lnTo>
                  <a:lnTo>
                    <a:pt x="249478" y="99060"/>
                  </a:lnTo>
                  <a:lnTo>
                    <a:pt x="332587" y="99060"/>
                  </a:lnTo>
                  <a:lnTo>
                    <a:pt x="332587" y="180340"/>
                  </a:lnTo>
                  <a:lnTo>
                    <a:pt x="362191" y="180340"/>
                  </a:lnTo>
                  <a:lnTo>
                    <a:pt x="362191" y="99060"/>
                  </a:lnTo>
                  <a:lnTo>
                    <a:pt x="362191" y="73660"/>
                  </a:lnTo>
                  <a:lnTo>
                    <a:pt x="362191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0" name="object 12">
              <a:extLst>
                <a:ext uri="{FF2B5EF4-FFF2-40B4-BE49-F238E27FC236}">
                  <a16:creationId xmlns:a16="http://schemas.microsoft.com/office/drawing/2014/main" id="{71FE535B-FE57-79F6-E4A0-2BE2C4E53236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8717022" y="962781"/>
              <a:ext cx="168947" cy="185596"/>
            </a:xfrm>
            <a:prstGeom prst="rect">
              <a:avLst/>
            </a:prstGeom>
          </p:spPr>
        </p:pic>
        <p:pic>
          <p:nvPicPr>
            <p:cNvPr id="41" name="object 13">
              <a:extLst>
                <a:ext uri="{FF2B5EF4-FFF2-40B4-BE49-F238E27FC236}">
                  <a16:creationId xmlns:a16="http://schemas.microsoft.com/office/drawing/2014/main" id="{3149D3DB-9920-0A60-F90B-3173F99FBD65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8923085" y="965618"/>
              <a:ext cx="142927" cy="182758"/>
            </a:xfrm>
            <a:prstGeom prst="rect">
              <a:avLst/>
            </a:prstGeom>
          </p:spPr>
        </p:pic>
      </p:grpSp>
      <p:sp>
        <p:nvSpPr>
          <p:cNvPr id="42" name="object 14">
            <a:extLst>
              <a:ext uri="{FF2B5EF4-FFF2-40B4-BE49-F238E27FC236}">
                <a16:creationId xmlns:a16="http://schemas.microsoft.com/office/drawing/2014/main" id="{227C4C00-786E-1002-6690-0C0DA51B5E50}"/>
              </a:ext>
            </a:extLst>
          </p:cNvPr>
          <p:cNvSpPr/>
          <p:nvPr userDrawn="1"/>
        </p:nvSpPr>
        <p:spPr>
          <a:xfrm>
            <a:off x="19091898" y="965566"/>
            <a:ext cx="135890" cy="180340"/>
          </a:xfrm>
          <a:custGeom>
            <a:avLst/>
            <a:gdLst/>
            <a:ahLst/>
            <a:cxnLst/>
            <a:rect l="l" t="t" r="r" b="b"/>
            <a:pathLst>
              <a:path w="135890" h="180340">
                <a:moveTo>
                  <a:pt x="135534" y="0"/>
                </a:moveTo>
                <a:lnTo>
                  <a:pt x="0" y="0"/>
                </a:lnTo>
                <a:lnTo>
                  <a:pt x="0" y="25400"/>
                </a:lnTo>
                <a:lnTo>
                  <a:pt x="53022" y="25400"/>
                </a:lnTo>
                <a:lnTo>
                  <a:pt x="53022" y="180340"/>
                </a:lnTo>
                <a:lnTo>
                  <a:pt x="82499" y="180340"/>
                </a:lnTo>
                <a:lnTo>
                  <a:pt x="82499" y="25400"/>
                </a:lnTo>
                <a:lnTo>
                  <a:pt x="135534" y="25400"/>
                </a:lnTo>
                <a:lnTo>
                  <a:pt x="1355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15">
            <a:extLst>
              <a:ext uri="{FF2B5EF4-FFF2-40B4-BE49-F238E27FC236}">
                <a16:creationId xmlns:a16="http://schemas.microsoft.com/office/drawing/2014/main" id="{128F738E-BEA7-1A9A-8C2C-928A3903E91C}"/>
              </a:ext>
            </a:extLst>
          </p:cNvPr>
          <p:cNvSpPr/>
          <p:nvPr userDrawn="1"/>
        </p:nvSpPr>
        <p:spPr>
          <a:xfrm>
            <a:off x="18065725" y="1229409"/>
            <a:ext cx="142875" cy="180975"/>
          </a:xfrm>
          <a:custGeom>
            <a:avLst/>
            <a:gdLst/>
            <a:ahLst/>
            <a:cxnLst/>
            <a:rect l="l" t="t" r="r" b="b"/>
            <a:pathLst>
              <a:path w="142875" h="180975">
                <a:moveTo>
                  <a:pt x="98767" y="169291"/>
                </a:moveTo>
                <a:lnTo>
                  <a:pt x="12598" y="169291"/>
                </a:lnTo>
                <a:lnTo>
                  <a:pt x="12598" y="381"/>
                </a:lnTo>
                <a:lnTo>
                  <a:pt x="0" y="381"/>
                </a:lnTo>
                <a:lnTo>
                  <a:pt x="0" y="169291"/>
                </a:lnTo>
                <a:lnTo>
                  <a:pt x="0" y="180721"/>
                </a:lnTo>
                <a:lnTo>
                  <a:pt x="98767" y="180721"/>
                </a:lnTo>
                <a:lnTo>
                  <a:pt x="98767" y="169291"/>
                </a:lnTo>
                <a:close/>
              </a:path>
              <a:path w="142875" h="180975">
                <a:moveTo>
                  <a:pt x="142532" y="0"/>
                </a:moveTo>
                <a:lnTo>
                  <a:pt x="129921" y="0"/>
                </a:lnTo>
                <a:lnTo>
                  <a:pt x="129921" y="180733"/>
                </a:lnTo>
                <a:lnTo>
                  <a:pt x="142532" y="180733"/>
                </a:lnTo>
                <a:lnTo>
                  <a:pt x="142532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4" name="object 16">
            <a:extLst>
              <a:ext uri="{FF2B5EF4-FFF2-40B4-BE49-F238E27FC236}">
                <a16:creationId xmlns:a16="http://schemas.microsoft.com/office/drawing/2014/main" id="{EE767C1E-0307-111B-020D-FF490A14F214}"/>
              </a:ext>
            </a:extLst>
          </p:cNvPr>
          <p:cNvGrpSpPr/>
          <p:nvPr userDrawn="1"/>
        </p:nvGrpSpPr>
        <p:grpSpPr>
          <a:xfrm>
            <a:off x="18235083" y="1226554"/>
            <a:ext cx="1077595" cy="186055"/>
            <a:chOff x="18235083" y="1226554"/>
            <a:chExt cx="1077595" cy="186055"/>
          </a:xfrm>
        </p:grpSpPr>
        <p:sp>
          <p:nvSpPr>
            <p:cNvPr id="45" name="object 17">
              <a:extLst>
                <a:ext uri="{FF2B5EF4-FFF2-40B4-BE49-F238E27FC236}">
                  <a16:creationId xmlns:a16="http://schemas.microsoft.com/office/drawing/2014/main" id="{300C3ADE-8DC4-FE7C-FD51-D23B77600441}"/>
                </a:ext>
              </a:extLst>
            </p:cNvPr>
            <p:cNvSpPr/>
            <p:nvPr/>
          </p:nvSpPr>
          <p:spPr>
            <a:xfrm>
              <a:off x="18235080" y="1229409"/>
              <a:ext cx="170180" cy="180975"/>
            </a:xfrm>
            <a:custGeom>
              <a:avLst/>
              <a:gdLst/>
              <a:ahLst/>
              <a:cxnLst/>
              <a:rect l="l" t="t" r="r" b="b"/>
              <a:pathLst>
                <a:path w="170180" h="180975">
                  <a:moveTo>
                    <a:pt x="130175" y="381"/>
                  </a:moveTo>
                  <a:lnTo>
                    <a:pt x="0" y="381"/>
                  </a:lnTo>
                  <a:lnTo>
                    <a:pt x="0" y="11811"/>
                  </a:lnTo>
                  <a:lnTo>
                    <a:pt x="58724" y="11811"/>
                  </a:lnTo>
                  <a:lnTo>
                    <a:pt x="58724" y="180721"/>
                  </a:lnTo>
                  <a:lnTo>
                    <a:pt x="71450" y="180721"/>
                  </a:lnTo>
                  <a:lnTo>
                    <a:pt x="71450" y="11811"/>
                  </a:lnTo>
                  <a:lnTo>
                    <a:pt x="130175" y="11811"/>
                  </a:lnTo>
                  <a:lnTo>
                    <a:pt x="130175" y="381"/>
                  </a:lnTo>
                  <a:close/>
                </a:path>
                <a:path w="170180" h="180975">
                  <a:moveTo>
                    <a:pt x="169608" y="0"/>
                  </a:moveTo>
                  <a:lnTo>
                    <a:pt x="156997" y="0"/>
                  </a:lnTo>
                  <a:lnTo>
                    <a:pt x="156997" y="180733"/>
                  </a:lnTo>
                  <a:lnTo>
                    <a:pt x="169608" y="180733"/>
                  </a:lnTo>
                  <a:lnTo>
                    <a:pt x="169608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6" name="object 18">
              <a:extLst>
                <a:ext uri="{FF2B5EF4-FFF2-40B4-BE49-F238E27FC236}">
                  <a16:creationId xmlns:a16="http://schemas.microsoft.com/office/drawing/2014/main" id="{3508BF80-2107-7E20-18D6-542589FD3101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8446220" y="1226554"/>
              <a:ext cx="147367" cy="186046"/>
            </a:xfrm>
            <a:prstGeom prst="rect">
              <a:avLst/>
            </a:prstGeom>
          </p:spPr>
        </p:pic>
        <p:pic>
          <p:nvPicPr>
            <p:cNvPr id="47" name="object 19">
              <a:extLst>
                <a:ext uri="{FF2B5EF4-FFF2-40B4-BE49-F238E27FC236}">
                  <a16:creationId xmlns:a16="http://schemas.microsoft.com/office/drawing/2014/main" id="{4E4A2DB1-6206-91F8-36D1-BD8BCCC51082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8613357" y="1228662"/>
              <a:ext cx="283342" cy="181470"/>
            </a:xfrm>
            <a:prstGeom prst="rect">
              <a:avLst/>
            </a:prstGeom>
          </p:spPr>
        </p:pic>
        <p:sp>
          <p:nvSpPr>
            <p:cNvPr id="48" name="object 20">
              <a:extLst>
                <a:ext uri="{FF2B5EF4-FFF2-40B4-BE49-F238E27FC236}">
                  <a16:creationId xmlns:a16="http://schemas.microsoft.com/office/drawing/2014/main" id="{F9CB9849-B0A4-99D9-8E0E-0B8D1ABB1A09}"/>
                </a:ext>
              </a:extLst>
            </p:cNvPr>
            <p:cNvSpPr/>
            <p:nvPr/>
          </p:nvSpPr>
          <p:spPr>
            <a:xfrm>
              <a:off x="18923528" y="1229407"/>
              <a:ext cx="12700" cy="180975"/>
            </a:xfrm>
            <a:custGeom>
              <a:avLst/>
              <a:gdLst/>
              <a:ahLst/>
              <a:cxnLst/>
              <a:rect l="l" t="t" r="r" b="b"/>
              <a:pathLst>
                <a:path w="12700" h="180975">
                  <a:moveTo>
                    <a:pt x="12606" y="0"/>
                  </a:moveTo>
                  <a:lnTo>
                    <a:pt x="0" y="0"/>
                  </a:lnTo>
                  <a:lnTo>
                    <a:pt x="0" y="180727"/>
                  </a:lnTo>
                  <a:lnTo>
                    <a:pt x="12606" y="180727"/>
                  </a:lnTo>
                  <a:lnTo>
                    <a:pt x="12606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9" name="object 21">
              <a:extLst>
                <a:ext uri="{FF2B5EF4-FFF2-40B4-BE49-F238E27FC236}">
                  <a16:creationId xmlns:a16="http://schemas.microsoft.com/office/drawing/2014/main" id="{EF5CE092-A781-5612-97CF-0CAB01CB1E8D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8977667" y="1226555"/>
              <a:ext cx="161576" cy="186046"/>
            </a:xfrm>
            <a:prstGeom prst="rect">
              <a:avLst/>
            </a:prstGeom>
          </p:spPr>
        </p:pic>
        <p:pic>
          <p:nvPicPr>
            <p:cNvPr id="50" name="object 22">
              <a:extLst>
                <a:ext uri="{FF2B5EF4-FFF2-40B4-BE49-F238E27FC236}">
                  <a16:creationId xmlns:a16="http://schemas.microsoft.com/office/drawing/2014/main" id="{6FB3AD6B-6716-6E45-4579-A09069FE75FA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9180778" y="1229403"/>
              <a:ext cx="131409" cy="180727"/>
            </a:xfrm>
            <a:prstGeom prst="rect">
              <a:avLst/>
            </a:prstGeom>
          </p:spPr>
        </p:pic>
      </p:grpSp>
      <p:sp>
        <p:nvSpPr>
          <p:cNvPr id="51" name="object 23">
            <a:extLst>
              <a:ext uri="{FF2B5EF4-FFF2-40B4-BE49-F238E27FC236}">
                <a16:creationId xmlns:a16="http://schemas.microsoft.com/office/drawing/2014/main" id="{FBB76F9C-9251-416E-C88B-B4CB0DEC4FA2}"/>
              </a:ext>
            </a:extLst>
          </p:cNvPr>
          <p:cNvSpPr/>
          <p:nvPr userDrawn="1"/>
        </p:nvSpPr>
        <p:spPr>
          <a:xfrm>
            <a:off x="17305002" y="681277"/>
            <a:ext cx="513715" cy="76200"/>
          </a:xfrm>
          <a:custGeom>
            <a:avLst/>
            <a:gdLst/>
            <a:ahLst/>
            <a:cxnLst/>
            <a:rect l="l" t="t" r="r" b="b"/>
            <a:pathLst>
              <a:path w="513715" h="76200">
                <a:moveTo>
                  <a:pt x="513418" y="0"/>
                </a:moveTo>
                <a:lnTo>
                  <a:pt x="0" y="0"/>
                </a:lnTo>
                <a:lnTo>
                  <a:pt x="0" y="76050"/>
                </a:lnTo>
                <a:lnTo>
                  <a:pt x="513418" y="76050"/>
                </a:lnTo>
                <a:lnTo>
                  <a:pt x="513418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Inhaltsplatzhalter 52">
            <a:extLst>
              <a:ext uri="{FF2B5EF4-FFF2-40B4-BE49-F238E27FC236}">
                <a16:creationId xmlns:a16="http://schemas.microsoft.com/office/drawing/2014/main" id="{A82CE079-35E1-D408-D03C-736721997C6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606549" y="4978399"/>
            <a:ext cx="17371117" cy="6474317"/>
          </a:xfrm>
        </p:spPr>
        <p:txBody>
          <a:bodyPr/>
          <a:lstStyle>
            <a:lvl1pPr>
              <a:defRPr sz="40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800">
                <a:latin typeface="+mn-lt"/>
              </a:defRPr>
            </a:lvl3pPr>
            <a:lvl4pPr>
              <a:defRPr sz="2800">
                <a:latin typeface="+mn-lt"/>
              </a:defRPr>
            </a:lvl4pPr>
            <a:lvl5pPr>
              <a:defRPr sz="2800">
                <a:latin typeface="+mn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20</a:t>
            </a:r>
          </a:p>
        </p:txBody>
      </p:sp>
      <p:sp>
        <p:nvSpPr>
          <p:cNvPr id="55" name="object 27">
            <a:extLst>
              <a:ext uri="{FF2B5EF4-FFF2-40B4-BE49-F238E27FC236}">
                <a16:creationId xmlns:a16="http://schemas.microsoft.com/office/drawing/2014/main" id="{206AB66D-308F-5300-A134-9C546A265A61}"/>
              </a:ext>
            </a:extLst>
          </p:cNvPr>
          <p:cNvSpPr/>
          <p:nvPr userDrawn="1"/>
        </p:nvSpPr>
        <p:spPr>
          <a:xfrm>
            <a:off x="16098986" y="11673393"/>
            <a:ext cx="4005579" cy="677545"/>
          </a:xfrm>
          <a:custGeom>
            <a:avLst/>
            <a:gdLst/>
            <a:ahLst/>
            <a:cxnLst/>
            <a:rect l="l" t="t" r="r" b="b"/>
            <a:pathLst>
              <a:path w="4005580" h="677545">
                <a:moveTo>
                  <a:pt x="4005113" y="0"/>
                </a:moveTo>
                <a:lnTo>
                  <a:pt x="0" y="0"/>
                </a:lnTo>
                <a:lnTo>
                  <a:pt x="0" y="677036"/>
                </a:lnTo>
                <a:lnTo>
                  <a:pt x="4005113" y="67703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platzhalter 34">
            <a:extLst>
              <a:ext uri="{FF2B5EF4-FFF2-40B4-BE49-F238E27FC236}">
                <a16:creationId xmlns:a16="http://schemas.microsoft.com/office/drawing/2014/main" id="{8E6DC7A6-54B6-969D-B9C2-111BCAB3F0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12069" y="2633271"/>
            <a:ext cx="13833061" cy="769441"/>
          </a:xfrm>
        </p:spPr>
        <p:txBody>
          <a:bodyPr/>
          <a:lstStyle>
            <a:lvl1pPr>
              <a:defRPr sz="50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4000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6000">
                <a:latin typeface="+mj-lt"/>
              </a:defRPr>
            </a:lvl3pPr>
            <a:lvl4pPr>
              <a:defRPr sz="6000">
                <a:latin typeface="+mj-lt"/>
              </a:defRPr>
            </a:lvl4pPr>
            <a:lvl5pPr>
              <a:defRPr sz="6000">
                <a:latin typeface="+mj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644080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F47D03-739D-D4DC-FFAA-BA72C962E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1112" y="1399683"/>
            <a:ext cx="13927338" cy="923330"/>
          </a:xfrm>
        </p:spPr>
        <p:txBody>
          <a:bodyPr/>
          <a:lstStyle>
            <a:lvl1pPr>
              <a:defRPr sz="60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F0C7E04-8B71-FEC6-1C1A-A3CC7CF6E3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JUSTICE WITHOUT LITIGATION II - ECONOMIC PART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A192B04-9983-C054-884B-977902B38BB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12th March 2025 | Rom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5D6F7-F4AB-1D2D-31D3-0558EEB8F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38100">
              <a:lnSpc>
                <a:spcPct val="100000"/>
              </a:lnSpc>
              <a:spcBef>
                <a:spcPts val="85"/>
              </a:spcBef>
            </a:pPr>
            <a:fld id="{81D60167-4931-47E6-BA6A-407CBD079E47}" type="slidenum">
              <a:rPr lang="de-DE" spc="15" smtClean="0"/>
              <a:t>‹#›</a:t>
            </a:fld>
            <a:endParaRPr lang="de-DE" spc="15" dirty="0"/>
          </a:p>
        </p:txBody>
      </p:sp>
      <p:sp>
        <p:nvSpPr>
          <p:cNvPr id="28" name="object 23">
            <a:extLst>
              <a:ext uri="{FF2B5EF4-FFF2-40B4-BE49-F238E27FC236}">
                <a16:creationId xmlns:a16="http://schemas.microsoft.com/office/drawing/2014/main" id="{BFD4C767-559D-B761-6434-849A19035F02}"/>
              </a:ext>
            </a:extLst>
          </p:cNvPr>
          <p:cNvSpPr/>
          <p:nvPr userDrawn="1"/>
        </p:nvSpPr>
        <p:spPr>
          <a:xfrm>
            <a:off x="497344" y="0"/>
            <a:ext cx="630555" cy="4417695"/>
          </a:xfrm>
          <a:custGeom>
            <a:avLst/>
            <a:gdLst/>
            <a:ahLst/>
            <a:cxnLst/>
            <a:rect l="l" t="t" r="r" b="b"/>
            <a:pathLst>
              <a:path w="630555" h="4417695">
                <a:moveTo>
                  <a:pt x="630242" y="4083639"/>
                </a:moveTo>
                <a:lnTo>
                  <a:pt x="630242" y="4073744"/>
                </a:lnTo>
                <a:lnTo>
                  <a:pt x="630106" y="4073859"/>
                </a:lnTo>
                <a:lnTo>
                  <a:pt x="629855" y="4074090"/>
                </a:lnTo>
                <a:lnTo>
                  <a:pt x="629855" y="0"/>
                </a:lnTo>
              </a:path>
              <a:path w="630555" h="4417695">
                <a:moveTo>
                  <a:pt x="2434" y="0"/>
                </a:moveTo>
                <a:lnTo>
                  <a:pt x="0" y="2699357"/>
                </a:lnTo>
                <a:lnTo>
                  <a:pt x="0" y="4417388"/>
                </a:lnTo>
                <a:lnTo>
                  <a:pt x="49735" y="4401593"/>
                </a:lnTo>
                <a:lnTo>
                  <a:pt x="98845" y="4384492"/>
                </a:lnTo>
                <a:lnTo>
                  <a:pt x="147304" y="4366102"/>
                </a:lnTo>
                <a:lnTo>
                  <a:pt x="195086" y="4346440"/>
                </a:lnTo>
                <a:lnTo>
                  <a:pt x="242168" y="4325523"/>
                </a:lnTo>
                <a:lnTo>
                  <a:pt x="288524" y="4303369"/>
                </a:lnTo>
                <a:lnTo>
                  <a:pt x="334129" y="4279994"/>
                </a:lnTo>
                <a:lnTo>
                  <a:pt x="378959" y="4255416"/>
                </a:lnTo>
                <a:lnTo>
                  <a:pt x="422987" y="4229652"/>
                </a:lnTo>
                <a:lnTo>
                  <a:pt x="466190" y="4202719"/>
                </a:lnTo>
                <a:lnTo>
                  <a:pt x="508541" y="4174634"/>
                </a:lnTo>
                <a:lnTo>
                  <a:pt x="550017" y="4145414"/>
                </a:lnTo>
                <a:lnTo>
                  <a:pt x="590593" y="4115077"/>
                </a:lnTo>
                <a:lnTo>
                  <a:pt x="630242" y="4083639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5355E5FF-E425-E1F3-2252-042EB33A5853}"/>
              </a:ext>
            </a:extLst>
          </p:cNvPr>
          <p:cNvSpPr/>
          <p:nvPr userDrawn="1"/>
        </p:nvSpPr>
        <p:spPr>
          <a:xfrm>
            <a:off x="17231199" y="834965"/>
            <a:ext cx="587375" cy="579755"/>
          </a:xfrm>
          <a:custGeom>
            <a:avLst/>
            <a:gdLst/>
            <a:ahLst/>
            <a:cxnLst/>
            <a:rect l="l" t="t" r="r" b="b"/>
            <a:pathLst>
              <a:path w="587375" h="579755">
                <a:moveTo>
                  <a:pt x="587259" y="0"/>
                </a:moveTo>
                <a:lnTo>
                  <a:pt x="513460" y="0"/>
                </a:lnTo>
                <a:lnTo>
                  <a:pt x="513460" y="285687"/>
                </a:lnTo>
                <a:lnTo>
                  <a:pt x="507898" y="334898"/>
                </a:lnTo>
                <a:lnTo>
                  <a:pt x="492045" y="380220"/>
                </a:lnTo>
                <a:lnTo>
                  <a:pt x="467148" y="420422"/>
                </a:lnTo>
                <a:lnTo>
                  <a:pt x="434457" y="454279"/>
                </a:lnTo>
                <a:lnTo>
                  <a:pt x="434457" y="0"/>
                </a:lnTo>
                <a:lnTo>
                  <a:pt x="358407" y="0"/>
                </a:lnTo>
                <a:lnTo>
                  <a:pt x="358407" y="495754"/>
                </a:lnTo>
                <a:lnTo>
                  <a:pt x="342810" y="499947"/>
                </a:lnTo>
                <a:lnTo>
                  <a:pt x="326785" y="503005"/>
                </a:lnTo>
                <a:lnTo>
                  <a:pt x="310376" y="504877"/>
                </a:lnTo>
                <a:lnTo>
                  <a:pt x="293624" y="505513"/>
                </a:lnTo>
                <a:lnTo>
                  <a:pt x="249374" y="501039"/>
                </a:lnTo>
                <a:lnTo>
                  <a:pt x="208134" y="488212"/>
                </a:lnTo>
                <a:lnTo>
                  <a:pt x="170795" y="467921"/>
                </a:lnTo>
                <a:lnTo>
                  <a:pt x="138248" y="441058"/>
                </a:lnTo>
                <a:lnTo>
                  <a:pt x="111383" y="408513"/>
                </a:lnTo>
                <a:lnTo>
                  <a:pt x="91090" y="371175"/>
                </a:lnTo>
                <a:lnTo>
                  <a:pt x="78262" y="329937"/>
                </a:lnTo>
                <a:lnTo>
                  <a:pt x="73788" y="285687"/>
                </a:lnTo>
                <a:lnTo>
                  <a:pt x="73788" y="272431"/>
                </a:lnTo>
                <a:lnTo>
                  <a:pt x="0" y="272431"/>
                </a:lnTo>
                <a:lnTo>
                  <a:pt x="0" y="285687"/>
                </a:lnTo>
                <a:lnTo>
                  <a:pt x="3850" y="333251"/>
                </a:lnTo>
                <a:lnTo>
                  <a:pt x="14995" y="378394"/>
                </a:lnTo>
                <a:lnTo>
                  <a:pt x="32825" y="420508"/>
                </a:lnTo>
                <a:lnTo>
                  <a:pt x="56731" y="458984"/>
                </a:lnTo>
                <a:lnTo>
                  <a:pt x="86103" y="493212"/>
                </a:lnTo>
                <a:lnTo>
                  <a:pt x="120332" y="522583"/>
                </a:lnTo>
                <a:lnTo>
                  <a:pt x="158808" y="546488"/>
                </a:lnTo>
                <a:lnTo>
                  <a:pt x="200921" y="564317"/>
                </a:lnTo>
                <a:lnTo>
                  <a:pt x="246063" y="575462"/>
                </a:lnTo>
                <a:lnTo>
                  <a:pt x="293624" y="579312"/>
                </a:lnTo>
                <a:lnTo>
                  <a:pt x="341190" y="575462"/>
                </a:lnTo>
                <a:lnTo>
                  <a:pt x="386336" y="564317"/>
                </a:lnTo>
                <a:lnTo>
                  <a:pt x="428452" y="546488"/>
                </a:lnTo>
                <a:lnTo>
                  <a:pt x="466929" y="522583"/>
                </a:lnTo>
                <a:lnTo>
                  <a:pt x="501158" y="493212"/>
                </a:lnTo>
                <a:lnTo>
                  <a:pt x="530530" y="458984"/>
                </a:lnTo>
                <a:lnTo>
                  <a:pt x="554435" y="420508"/>
                </a:lnTo>
                <a:lnTo>
                  <a:pt x="572265" y="378394"/>
                </a:lnTo>
                <a:lnTo>
                  <a:pt x="583409" y="333251"/>
                </a:lnTo>
                <a:lnTo>
                  <a:pt x="587259" y="285687"/>
                </a:lnTo>
                <a:lnTo>
                  <a:pt x="587259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2D629713-AEAF-885E-A2DA-057F8F00F1BB}"/>
              </a:ext>
            </a:extLst>
          </p:cNvPr>
          <p:cNvGrpSpPr/>
          <p:nvPr userDrawn="1"/>
        </p:nvGrpSpPr>
        <p:grpSpPr>
          <a:xfrm>
            <a:off x="18055059" y="680607"/>
            <a:ext cx="1011555" cy="467995"/>
            <a:chOff x="18055059" y="680607"/>
            <a:chExt cx="1011555" cy="467995"/>
          </a:xfrm>
        </p:grpSpPr>
        <p:pic>
          <p:nvPicPr>
            <p:cNvPr id="31" name="object 4">
              <a:extLst>
                <a:ext uri="{FF2B5EF4-FFF2-40B4-BE49-F238E27FC236}">
                  <a16:creationId xmlns:a16="http://schemas.microsoft.com/office/drawing/2014/main" id="{ABBCCA30-42EE-BB55-0FF1-57E6F4490529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065731" y="683266"/>
              <a:ext cx="91557" cy="243814"/>
            </a:xfrm>
            <a:prstGeom prst="rect">
              <a:avLst/>
            </a:prstGeom>
          </p:spPr>
        </p:pic>
        <p:pic>
          <p:nvPicPr>
            <p:cNvPr id="33" name="object 5">
              <a:extLst>
                <a:ext uri="{FF2B5EF4-FFF2-40B4-BE49-F238E27FC236}">
                  <a16:creationId xmlns:a16="http://schemas.microsoft.com/office/drawing/2014/main" id="{B8FDF681-ABFB-7F66-FF16-96EC9B23F14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8196176" y="683267"/>
              <a:ext cx="157984" cy="188088"/>
            </a:xfrm>
            <a:prstGeom prst="rect">
              <a:avLst/>
            </a:prstGeom>
          </p:spPr>
        </p:pic>
        <p:pic>
          <p:nvPicPr>
            <p:cNvPr id="34" name="object 6">
              <a:extLst>
                <a:ext uri="{FF2B5EF4-FFF2-40B4-BE49-F238E27FC236}">
                  <a16:creationId xmlns:a16="http://schemas.microsoft.com/office/drawing/2014/main" id="{44A85464-A38A-6145-56BB-4CE3D482788F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8384343" y="680607"/>
              <a:ext cx="284270" cy="190758"/>
            </a:xfrm>
            <a:prstGeom prst="rect">
              <a:avLst/>
            </a:prstGeom>
          </p:spPr>
        </p:pic>
        <p:sp>
          <p:nvSpPr>
            <p:cNvPr id="35" name="object 7">
              <a:extLst>
                <a:ext uri="{FF2B5EF4-FFF2-40B4-BE49-F238E27FC236}">
                  <a16:creationId xmlns:a16="http://schemas.microsoft.com/office/drawing/2014/main" id="{5FB6C1F4-6B58-0D50-1822-CA872078A830}"/>
                </a:ext>
              </a:extLst>
            </p:cNvPr>
            <p:cNvSpPr/>
            <p:nvPr/>
          </p:nvSpPr>
          <p:spPr>
            <a:xfrm>
              <a:off x="18695001" y="683267"/>
              <a:ext cx="50165" cy="186055"/>
            </a:xfrm>
            <a:custGeom>
              <a:avLst/>
              <a:gdLst/>
              <a:ahLst/>
              <a:cxnLst/>
              <a:rect l="l" t="t" r="r" b="b"/>
              <a:pathLst>
                <a:path w="50165" h="186055">
                  <a:moveTo>
                    <a:pt x="50134" y="0"/>
                  </a:moveTo>
                  <a:lnTo>
                    <a:pt x="0" y="0"/>
                  </a:lnTo>
                  <a:lnTo>
                    <a:pt x="0" y="185554"/>
                  </a:lnTo>
                  <a:lnTo>
                    <a:pt x="50134" y="185554"/>
                  </a:lnTo>
                  <a:lnTo>
                    <a:pt x="50134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8">
              <a:extLst>
                <a:ext uri="{FF2B5EF4-FFF2-40B4-BE49-F238E27FC236}">
                  <a16:creationId xmlns:a16="http://schemas.microsoft.com/office/drawing/2014/main" id="{F2E29D5C-A7FF-ADB8-7AFA-C4D9695BCCAE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778226" y="680607"/>
              <a:ext cx="146738" cy="190758"/>
            </a:xfrm>
            <a:prstGeom prst="rect">
              <a:avLst/>
            </a:prstGeom>
          </p:spPr>
        </p:pic>
        <p:sp>
          <p:nvSpPr>
            <p:cNvPr id="37" name="object 9">
              <a:extLst>
                <a:ext uri="{FF2B5EF4-FFF2-40B4-BE49-F238E27FC236}">
                  <a16:creationId xmlns:a16="http://schemas.microsoft.com/office/drawing/2014/main" id="{78F51688-6B85-6683-77FE-07B16398A124}"/>
                </a:ext>
              </a:extLst>
            </p:cNvPr>
            <p:cNvSpPr/>
            <p:nvPr/>
          </p:nvSpPr>
          <p:spPr>
            <a:xfrm>
              <a:off x="18952884" y="683411"/>
              <a:ext cx="109855" cy="185420"/>
            </a:xfrm>
            <a:custGeom>
              <a:avLst/>
              <a:gdLst/>
              <a:ahLst/>
              <a:cxnLst/>
              <a:rect l="l" t="t" r="r" b="b"/>
              <a:pathLst>
                <a:path w="109855" h="185419">
                  <a:moveTo>
                    <a:pt x="109601" y="0"/>
                  </a:moveTo>
                  <a:lnTo>
                    <a:pt x="0" y="0"/>
                  </a:lnTo>
                  <a:lnTo>
                    <a:pt x="0" y="40640"/>
                  </a:lnTo>
                  <a:lnTo>
                    <a:pt x="0" y="69850"/>
                  </a:lnTo>
                  <a:lnTo>
                    <a:pt x="0" y="109220"/>
                  </a:lnTo>
                  <a:lnTo>
                    <a:pt x="0" y="144780"/>
                  </a:lnTo>
                  <a:lnTo>
                    <a:pt x="0" y="185420"/>
                  </a:lnTo>
                  <a:lnTo>
                    <a:pt x="109601" y="185420"/>
                  </a:lnTo>
                  <a:lnTo>
                    <a:pt x="109601" y="144780"/>
                  </a:lnTo>
                  <a:lnTo>
                    <a:pt x="49885" y="144780"/>
                  </a:lnTo>
                  <a:lnTo>
                    <a:pt x="49885" y="109220"/>
                  </a:lnTo>
                  <a:lnTo>
                    <a:pt x="105181" y="109220"/>
                  </a:lnTo>
                  <a:lnTo>
                    <a:pt x="105181" y="69850"/>
                  </a:lnTo>
                  <a:lnTo>
                    <a:pt x="49885" y="69850"/>
                  </a:lnTo>
                  <a:lnTo>
                    <a:pt x="49885" y="40640"/>
                  </a:lnTo>
                  <a:lnTo>
                    <a:pt x="109601" y="40640"/>
                  </a:lnTo>
                  <a:lnTo>
                    <a:pt x="109601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10">
              <a:extLst>
                <a:ext uri="{FF2B5EF4-FFF2-40B4-BE49-F238E27FC236}">
                  <a16:creationId xmlns:a16="http://schemas.microsoft.com/office/drawing/2014/main" id="{B5D74ACE-9773-73BD-1E52-D3C22D7E0B6B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055059" y="965618"/>
              <a:ext cx="235657" cy="180287"/>
            </a:xfrm>
            <a:prstGeom prst="rect">
              <a:avLst/>
            </a:prstGeom>
          </p:spPr>
        </p:pic>
        <p:sp>
          <p:nvSpPr>
            <p:cNvPr id="39" name="object 11">
              <a:extLst>
                <a:ext uri="{FF2B5EF4-FFF2-40B4-BE49-F238E27FC236}">
                  <a16:creationId xmlns:a16="http://schemas.microsoft.com/office/drawing/2014/main" id="{6CBADF5D-887F-B94E-F801-64FDC82B8976}"/>
                </a:ext>
              </a:extLst>
            </p:cNvPr>
            <p:cNvSpPr/>
            <p:nvPr/>
          </p:nvSpPr>
          <p:spPr>
            <a:xfrm>
              <a:off x="18316233" y="965566"/>
              <a:ext cx="362585" cy="180340"/>
            </a:xfrm>
            <a:custGeom>
              <a:avLst/>
              <a:gdLst/>
              <a:ahLst/>
              <a:cxnLst/>
              <a:rect l="l" t="t" r="r" b="b"/>
              <a:pathLst>
                <a:path w="362584" h="180340">
                  <a:moveTo>
                    <a:pt x="29476" y="50"/>
                  </a:moveTo>
                  <a:lnTo>
                    <a:pt x="0" y="50"/>
                  </a:lnTo>
                  <a:lnTo>
                    <a:pt x="0" y="180340"/>
                  </a:lnTo>
                  <a:lnTo>
                    <a:pt x="29476" y="180340"/>
                  </a:lnTo>
                  <a:lnTo>
                    <a:pt x="29476" y="50"/>
                  </a:lnTo>
                  <a:close/>
                </a:path>
                <a:path w="362584" h="180340">
                  <a:moveTo>
                    <a:pt x="192379" y="0"/>
                  </a:moveTo>
                  <a:lnTo>
                    <a:pt x="56845" y="0"/>
                  </a:lnTo>
                  <a:lnTo>
                    <a:pt x="56845" y="25400"/>
                  </a:lnTo>
                  <a:lnTo>
                    <a:pt x="109880" y="25400"/>
                  </a:lnTo>
                  <a:lnTo>
                    <a:pt x="109880" y="180340"/>
                  </a:lnTo>
                  <a:lnTo>
                    <a:pt x="139344" y="180340"/>
                  </a:lnTo>
                  <a:lnTo>
                    <a:pt x="139344" y="25400"/>
                  </a:lnTo>
                  <a:lnTo>
                    <a:pt x="192379" y="25400"/>
                  </a:lnTo>
                  <a:lnTo>
                    <a:pt x="192379" y="0"/>
                  </a:lnTo>
                  <a:close/>
                </a:path>
                <a:path w="362584" h="180340">
                  <a:moveTo>
                    <a:pt x="362191" y="0"/>
                  </a:moveTo>
                  <a:lnTo>
                    <a:pt x="332587" y="0"/>
                  </a:lnTo>
                  <a:lnTo>
                    <a:pt x="332587" y="73660"/>
                  </a:lnTo>
                  <a:lnTo>
                    <a:pt x="249478" y="73660"/>
                  </a:lnTo>
                  <a:lnTo>
                    <a:pt x="249478" y="0"/>
                  </a:lnTo>
                  <a:lnTo>
                    <a:pt x="220002" y="0"/>
                  </a:lnTo>
                  <a:lnTo>
                    <a:pt x="220002" y="73660"/>
                  </a:lnTo>
                  <a:lnTo>
                    <a:pt x="220002" y="99060"/>
                  </a:lnTo>
                  <a:lnTo>
                    <a:pt x="220002" y="180340"/>
                  </a:lnTo>
                  <a:lnTo>
                    <a:pt x="249478" y="180340"/>
                  </a:lnTo>
                  <a:lnTo>
                    <a:pt x="249478" y="99060"/>
                  </a:lnTo>
                  <a:lnTo>
                    <a:pt x="332587" y="99060"/>
                  </a:lnTo>
                  <a:lnTo>
                    <a:pt x="332587" y="180340"/>
                  </a:lnTo>
                  <a:lnTo>
                    <a:pt x="362191" y="180340"/>
                  </a:lnTo>
                  <a:lnTo>
                    <a:pt x="362191" y="99060"/>
                  </a:lnTo>
                  <a:lnTo>
                    <a:pt x="362191" y="73660"/>
                  </a:lnTo>
                  <a:lnTo>
                    <a:pt x="362191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0" name="object 12">
              <a:extLst>
                <a:ext uri="{FF2B5EF4-FFF2-40B4-BE49-F238E27FC236}">
                  <a16:creationId xmlns:a16="http://schemas.microsoft.com/office/drawing/2014/main" id="{71FE535B-FE57-79F6-E4A0-2BE2C4E53236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8717022" y="962781"/>
              <a:ext cx="168947" cy="185596"/>
            </a:xfrm>
            <a:prstGeom prst="rect">
              <a:avLst/>
            </a:prstGeom>
          </p:spPr>
        </p:pic>
        <p:pic>
          <p:nvPicPr>
            <p:cNvPr id="41" name="object 13">
              <a:extLst>
                <a:ext uri="{FF2B5EF4-FFF2-40B4-BE49-F238E27FC236}">
                  <a16:creationId xmlns:a16="http://schemas.microsoft.com/office/drawing/2014/main" id="{3149D3DB-9920-0A60-F90B-3173F99FBD65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8923085" y="965618"/>
              <a:ext cx="142927" cy="182758"/>
            </a:xfrm>
            <a:prstGeom prst="rect">
              <a:avLst/>
            </a:prstGeom>
          </p:spPr>
        </p:pic>
      </p:grpSp>
      <p:sp>
        <p:nvSpPr>
          <p:cNvPr id="42" name="object 14">
            <a:extLst>
              <a:ext uri="{FF2B5EF4-FFF2-40B4-BE49-F238E27FC236}">
                <a16:creationId xmlns:a16="http://schemas.microsoft.com/office/drawing/2014/main" id="{227C4C00-786E-1002-6690-0C0DA51B5E50}"/>
              </a:ext>
            </a:extLst>
          </p:cNvPr>
          <p:cNvSpPr/>
          <p:nvPr userDrawn="1"/>
        </p:nvSpPr>
        <p:spPr>
          <a:xfrm>
            <a:off x="19091898" y="965566"/>
            <a:ext cx="135890" cy="180340"/>
          </a:xfrm>
          <a:custGeom>
            <a:avLst/>
            <a:gdLst/>
            <a:ahLst/>
            <a:cxnLst/>
            <a:rect l="l" t="t" r="r" b="b"/>
            <a:pathLst>
              <a:path w="135890" h="180340">
                <a:moveTo>
                  <a:pt x="135534" y="0"/>
                </a:moveTo>
                <a:lnTo>
                  <a:pt x="0" y="0"/>
                </a:lnTo>
                <a:lnTo>
                  <a:pt x="0" y="25400"/>
                </a:lnTo>
                <a:lnTo>
                  <a:pt x="53022" y="25400"/>
                </a:lnTo>
                <a:lnTo>
                  <a:pt x="53022" y="180340"/>
                </a:lnTo>
                <a:lnTo>
                  <a:pt x="82499" y="180340"/>
                </a:lnTo>
                <a:lnTo>
                  <a:pt x="82499" y="25400"/>
                </a:lnTo>
                <a:lnTo>
                  <a:pt x="135534" y="25400"/>
                </a:lnTo>
                <a:lnTo>
                  <a:pt x="1355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15">
            <a:extLst>
              <a:ext uri="{FF2B5EF4-FFF2-40B4-BE49-F238E27FC236}">
                <a16:creationId xmlns:a16="http://schemas.microsoft.com/office/drawing/2014/main" id="{128F738E-BEA7-1A9A-8C2C-928A3903E91C}"/>
              </a:ext>
            </a:extLst>
          </p:cNvPr>
          <p:cNvSpPr/>
          <p:nvPr userDrawn="1"/>
        </p:nvSpPr>
        <p:spPr>
          <a:xfrm>
            <a:off x="18065725" y="1229409"/>
            <a:ext cx="142875" cy="180975"/>
          </a:xfrm>
          <a:custGeom>
            <a:avLst/>
            <a:gdLst/>
            <a:ahLst/>
            <a:cxnLst/>
            <a:rect l="l" t="t" r="r" b="b"/>
            <a:pathLst>
              <a:path w="142875" h="180975">
                <a:moveTo>
                  <a:pt x="98767" y="169291"/>
                </a:moveTo>
                <a:lnTo>
                  <a:pt x="12598" y="169291"/>
                </a:lnTo>
                <a:lnTo>
                  <a:pt x="12598" y="381"/>
                </a:lnTo>
                <a:lnTo>
                  <a:pt x="0" y="381"/>
                </a:lnTo>
                <a:lnTo>
                  <a:pt x="0" y="169291"/>
                </a:lnTo>
                <a:lnTo>
                  <a:pt x="0" y="180721"/>
                </a:lnTo>
                <a:lnTo>
                  <a:pt x="98767" y="180721"/>
                </a:lnTo>
                <a:lnTo>
                  <a:pt x="98767" y="169291"/>
                </a:lnTo>
                <a:close/>
              </a:path>
              <a:path w="142875" h="180975">
                <a:moveTo>
                  <a:pt x="142532" y="0"/>
                </a:moveTo>
                <a:lnTo>
                  <a:pt x="129921" y="0"/>
                </a:lnTo>
                <a:lnTo>
                  <a:pt x="129921" y="180733"/>
                </a:lnTo>
                <a:lnTo>
                  <a:pt x="142532" y="180733"/>
                </a:lnTo>
                <a:lnTo>
                  <a:pt x="142532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4" name="object 16">
            <a:extLst>
              <a:ext uri="{FF2B5EF4-FFF2-40B4-BE49-F238E27FC236}">
                <a16:creationId xmlns:a16="http://schemas.microsoft.com/office/drawing/2014/main" id="{EE767C1E-0307-111B-020D-FF490A14F214}"/>
              </a:ext>
            </a:extLst>
          </p:cNvPr>
          <p:cNvGrpSpPr/>
          <p:nvPr userDrawn="1"/>
        </p:nvGrpSpPr>
        <p:grpSpPr>
          <a:xfrm>
            <a:off x="18235083" y="1226554"/>
            <a:ext cx="1077595" cy="186055"/>
            <a:chOff x="18235083" y="1226554"/>
            <a:chExt cx="1077595" cy="186055"/>
          </a:xfrm>
        </p:grpSpPr>
        <p:sp>
          <p:nvSpPr>
            <p:cNvPr id="45" name="object 17">
              <a:extLst>
                <a:ext uri="{FF2B5EF4-FFF2-40B4-BE49-F238E27FC236}">
                  <a16:creationId xmlns:a16="http://schemas.microsoft.com/office/drawing/2014/main" id="{300C3ADE-8DC4-FE7C-FD51-D23B77600441}"/>
                </a:ext>
              </a:extLst>
            </p:cNvPr>
            <p:cNvSpPr/>
            <p:nvPr/>
          </p:nvSpPr>
          <p:spPr>
            <a:xfrm>
              <a:off x="18235080" y="1229409"/>
              <a:ext cx="170180" cy="180975"/>
            </a:xfrm>
            <a:custGeom>
              <a:avLst/>
              <a:gdLst/>
              <a:ahLst/>
              <a:cxnLst/>
              <a:rect l="l" t="t" r="r" b="b"/>
              <a:pathLst>
                <a:path w="170180" h="180975">
                  <a:moveTo>
                    <a:pt x="130175" y="381"/>
                  </a:moveTo>
                  <a:lnTo>
                    <a:pt x="0" y="381"/>
                  </a:lnTo>
                  <a:lnTo>
                    <a:pt x="0" y="11811"/>
                  </a:lnTo>
                  <a:lnTo>
                    <a:pt x="58724" y="11811"/>
                  </a:lnTo>
                  <a:lnTo>
                    <a:pt x="58724" y="180721"/>
                  </a:lnTo>
                  <a:lnTo>
                    <a:pt x="71450" y="180721"/>
                  </a:lnTo>
                  <a:lnTo>
                    <a:pt x="71450" y="11811"/>
                  </a:lnTo>
                  <a:lnTo>
                    <a:pt x="130175" y="11811"/>
                  </a:lnTo>
                  <a:lnTo>
                    <a:pt x="130175" y="381"/>
                  </a:lnTo>
                  <a:close/>
                </a:path>
                <a:path w="170180" h="180975">
                  <a:moveTo>
                    <a:pt x="169608" y="0"/>
                  </a:moveTo>
                  <a:lnTo>
                    <a:pt x="156997" y="0"/>
                  </a:lnTo>
                  <a:lnTo>
                    <a:pt x="156997" y="180733"/>
                  </a:lnTo>
                  <a:lnTo>
                    <a:pt x="169608" y="180733"/>
                  </a:lnTo>
                  <a:lnTo>
                    <a:pt x="169608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6" name="object 18">
              <a:extLst>
                <a:ext uri="{FF2B5EF4-FFF2-40B4-BE49-F238E27FC236}">
                  <a16:creationId xmlns:a16="http://schemas.microsoft.com/office/drawing/2014/main" id="{3508BF80-2107-7E20-18D6-542589FD3101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8446220" y="1226554"/>
              <a:ext cx="147367" cy="186046"/>
            </a:xfrm>
            <a:prstGeom prst="rect">
              <a:avLst/>
            </a:prstGeom>
          </p:spPr>
        </p:pic>
        <p:pic>
          <p:nvPicPr>
            <p:cNvPr id="47" name="object 19">
              <a:extLst>
                <a:ext uri="{FF2B5EF4-FFF2-40B4-BE49-F238E27FC236}">
                  <a16:creationId xmlns:a16="http://schemas.microsoft.com/office/drawing/2014/main" id="{4E4A2DB1-6206-91F8-36D1-BD8BCCC51082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8613357" y="1228662"/>
              <a:ext cx="283342" cy="181470"/>
            </a:xfrm>
            <a:prstGeom prst="rect">
              <a:avLst/>
            </a:prstGeom>
          </p:spPr>
        </p:pic>
        <p:sp>
          <p:nvSpPr>
            <p:cNvPr id="48" name="object 20">
              <a:extLst>
                <a:ext uri="{FF2B5EF4-FFF2-40B4-BE49-F238E27FC236}">
                  <a16:creationId xmlns:a16="http://schemas.microsoft.com/office/drawing/2014/main" id="{F9CB9849-B0A4-99D9-8E0E-0B8D1ABB1A09}"/>
                </a:ext>
              </a:extLst>
            </p:cNvPr>
            <p:cNvSpPr/>
            <p:nvPr/>
          </p:nvSpPr>
          <p:spPr>
            <a:xfrm>
              <a:off x="18923528" y="1229407"/>
              <a:ext cx="12700" cy="180975"/>
            </a:xfrm>
            <a:custGeom>
              <a:avLst/>
              <a:gdLst/>
              <a:ahLst/>
              <a:cxnLst/>
              <a:rect l="l" t="t" r="r" b="b"/>
              <a:pathLst>
                <a:path w="12700" h="180975">
                  <a:moveTo>
                    <a:pt x="12606" y="0"/>
                  </a:moveTo>
                  <a:lnTo>
                    <a:pt x="0" y="0"/>
                  </a:lnTo>
                  <a:lnTo>
                    <a:pt x="0" y="180727"/>
                  </a:lnTo>
                  <a:lnTo>
                    <a:pt x="12606" y="180727"/>
                  </a:lnTo>
                  <a:lnTo>
                    <a:pt x="12606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9" name="object 21">
              <a:extLst>
                <a:ext uri="{FF2B5EF4-FFF2-40B4-BE49-F238E27FC236}">
                  <a16:creationId xmlns:a16="http://schemas.microsoft.com/office/drawing/2014/main" id="{EF5CE092-A781-5612-97CF-0CAB01CB1E8D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8977667" y="1226555"/>
              <a:ext cx="161576" cy="186046"/>
            </a:xfrm>
            <a:prstGeom prst="rect">
              <a:avLst/>
            </a:prstGeom>
          </p:spPr>
        </p:pic>
        <p:pic>
          <p:nvPicPr>
            <p:cNvPr id="50" name="object 22">
              <a:extLst>
                <a:ext uri="{FF2B5EF4-FFF2-40B4-BE49-F238E27FC236}">
                  <a16:creationId xmlns:a16="http://schemas.microsoft.com/office/drawing/2014/main" id="{6FB3AD6B-6716-6E45-4579-A09069FE75FA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9180778" y="1229403"/>
              <a:ext cx="131409" cy="180727"/>
            </a:xfrm>
            <a:prstGeom prst="rect">
              <a:avLst/>
            </a:prstGeom>
          </p:spPr>
        </p:pic>
      </p:grpSp>
      <p:sp>
        <p:nvSpPr>
          <p:cNvPr id="51" name="object 23">
            <a:extLst>
              <a:ext uri="{FF2B5EF4-FFF2-40B4-BE49-F238E27FC236}">
                <a16:creationId xmlns:a16="http://schemas.microsoft.com/office/drawing/2014/main" id="{FBB76F9C-9251-416E-C88B-B4CB0DEC4FA2}"/>
              </a:ext>
            </a:extLst>
          </p:cNvPr>
          <p:cNvSpPr/>
          <p:nvPr userDrawn="1"/>
        </p:nvSpPr>
        <p:spPr>
          <a:xfrm>
            <a:off x="17305002" y="681277"/>
            <a:ext cx="513715" cy="76200"/>
          </a:xfrm>
          <a:custGeom>
            <a:avLst/>
            <a:gdLst/>
            <a:ahLst/>
            <a:cxnLst/>
            <a:rect l="l" t="t" r="r" b="b"/>
            <a:pathLst>
              <a:path w="513715" h="76200">
                <a:moveTo>
                  <a:pt x="513418" y="0"/>
                </a:moveTo>
                <a:lnTo>
                  <a:pt x="0" y="0"/>
                </a:lnTo>
                <a:lnTo>
                  <a:pt x="0" y="76050"/>
                </a:lnTo>
                <a:lnTo>
                  <a:pt x="513418" y="76050"/>
                </a:lnTo>
                <a:lnTo>
                  <a:pt x="513418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Inhaltsplatzhalter 52">
            <a:extLst>
              <a:ext uri="{FF2B5EF4-FFF2-40B4-BE49-F238E27FC236}">
                <a16:creationId xmlns:a16="http://schemas.microsoft.com/office/drawing/2014/main" id="{A82CE079-35E1-D408-D03C-736721997C6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606549" y="4978399"/>
            <a:ext cx="17371117" cy="6474317"/>
          </a:xfrm>
        </p:spPr>
        <p:txBody>
          <a:bodyPr/>
          <a:lstStyle>
            <a:lvl1pPr>
              <a:defRPr sz="40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800">
                <a:latin typeface="+mn-lt"/>
              </a:defRPr>
            </a:lvl3pPr>
            <a:lvl4pPr>
              <a:defRPr sz="2800">
                <a:latin typeface="+mn-lt"/>
              </a:defRPr>
            </a:lvl4pPr>
            <a:lvl5pPr>
              <a:defRPr sz="2800">
                <a:latin typeface="+mn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20</a:t>
            </a:r>
          </a:p>
        </p:txBody>
      </p:sp>
      <p:sp>
        <p:nvSpPr>
          <p:cNvPr id="55" name="object 27">
            <a:extLst>
              <a:ext uri="{FF2B5EF4-FFF2-40B4-BE49-F238E27FC236}">
                <a16:creationId xmlns:a16="http://schemas.microsoft.com/office/drawing/2014/main" id="{206AB66D-308F-5300-A134-9C546A265A61}"/>
              </a:ext>
            </a:extLst>
          </p:cNvPr>
          <p:cNvSpPr/>
          <p:nvPr userDrawn="1"/>
        </p:nvSpPr>
        <p:spPr>
          <a:xfrm>
            <a:off x="16098986" y="11673393"/>
            <a:ext cx="4005579" cy="677545"/>
          </a:xfrm>
          <a:custGeom>
            <a:avLst/>
            <a:gdLst/>
            <a:ahLst/>
            <a:cxnLst/>
            <a:rect l="l" t="t" r="r" b="b"/>
            <a:pathLst>
              <a:path w="4005580" h="677545">
                <a:moveTo>
                  <a:pt x="4005113" y="0"/>
                </a:moveTo>
                <a:lnTo>
                  <a:pt x="0" y="0"/>
                </a:lnTo>
                <a:lnTo>
                  <a:pt x="0" y="677036"/>
                </a:lnTo>
                <a:lnTo>
                  <a:pt x="4005113" y="67703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platzhalter 34">
            <a:extLst>
              <a:ext uri="{FF2B5EF4-FFF2-40B4-BE49-F238E27FC236}">
                <a16:creationId xmlns:a16="http://schemas.microsoft.com/office/drawing/2014/main" id="{8E6DC7A6-54B6-969D-B9C2-111BCAB3F0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12069" y="2633271"/>
            <a:ext cx="13833061" cy="769441"/>
          </a:xfrm>
        </p:spPr>
        <p:txBody>
          <a:bodyPr/>
          <a:lstStyle>
            <a:lvl1pPr>
              <a:defRPr sz="50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4000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6000">
                <a:latin typeface="+mj-lt"/>
              </a:defRPr>
            </a:lvl3pPr>
            <a:lvl4pPr>
              <a:defRPr sz="6000">
                <a:latin typeface="+mj-lt"/>
              </a:defRPr>
            </a:lvl4pPr>
            <a:lvl5pPr>
              <a:defRPr sz="6000">
                <a:latin typeface="+mj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02ADE3C2-66CB-7018-54F4-3487B92A78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611112" y="4058529"/>
            <a:ext cx="7195438" cy="553998"/>
          </a:xfrm>
        </p:spPr>
        <p:txBody>
          <a:bodyPr/>
          <a:lstStyle>
            <a:lvl1pPr>
              <a:defRPr sz="3600" b="1">
                <a:solidFill>
                  <a:schemeClr val="accent1"/>
                </a:solidFill>
                <a:latin typeface="+mj-lt"/>
              </a:defRPr>
            </a:lvl1pPr>
            <a:lvl2pPr>
              <a:defRPr sz="2900"/>
            </a:lvl2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855443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F47D03-739D-D4DC-FFAA-BA72C962E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1112" y="1399683"/>
            <a:ext cx="13927338" cy="923330"/>
          </a:xfrm>
        </p:spPr>
        <p:txBody>
          <a:bodyPr/>
          <a:lstStyle>
            <a:lvl1pPr>
              <a:defRPr sz="60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F0C7E04-8B71-FEC6-1C1A-A3CC7CF6E3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JUSTICE WITHOUT LITIGATION II - ECONOMIC PART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A192B04-9983-C054-884B-977902B38BB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12th March 2025 | Rom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5D6F7-F4AB-1D2D-31D3-0558EEB8F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38100">
              <a:lnSpc>
                <a:spcPct val="100000"/>
              </a:lnSpc>
              <a:spcBef>
                <a:spcPts val="85"/>
              </a:spcBef>
            </a:pPr>
            <a:fld id="{81D60167-4931-47E6-BA6A-407CBD079E47}" type="slidenum">
              <a:rPr lang="de-DE" spc="15" smtClean="0"/>
              <a:t>‹#›</a:t>
            </a:fld>
            <a:endParaRPr lang="de-DE" spc="15" dirty="0"/>
          </a:p>
        </p:txBody>
      </p:sp>
      <p:sp>
        <p:nvSpPr>
          <p:cNvPr id="28" name="object 23">
            <a:extLst>
              <a:ext uri="{FF2B5EF4-FFF2-40B4-BE49-F238E27FC236}">
                <a16:creationId xmlns:a16="http://schemas.microsoft.com/office/drawing/2014/main" id="{BFD4C767-559D-B761-6434-849A19035F02}"/>
              </a:ext>
            </a:extLst>
          </p:cNvPr>
          <p:cNvSpPr/>
          <p:nvPr userDrawn="1"/>
        </p:nvSpPr>
        <p:spPr>
          <a:xfrm>
            <a:off x="497344" y="0"/>
            <a:ext cx="630555" cy="4417695"/>
          </a:xfrm>
          <a:custGeom>
            <a:avLst/>
            <a:gdLst/>
            <a:ahLst/>
            <a:cxnLst/>
            <a:rect l="l" t="t" r="r" b="b"/>
            <a:pathLst>
              <a:path w="630555" h="4417695">
                <a:moveTo>
                  <a:pt x="630242" y="4083639"/>
                </a:moveTo>
                <a:lnTo>
                  <a:pt x="630242" y="4073744"/>
                </a:lnTo>
                <a:lnTo>
                  <a:pt x="630106" y="4073859"/>
                </a:lnTo>
                <a:lnTo>
                  <a:pt x="629855" y="4074090"/>
                </a:lnTo>
                <a:lnTo>
                  <a:pt x="629855" y="0"/>
                </a:lnTo>
              </a:path>
              <a:path w="630555" h="4417695">
                <a:moveTo>
                  <a:pt x="2434" y="0"/>
                </a:moveTo>
                <a:lnTo>
                  <a:pt x="0" y="2699357"/>
                </a:lnTo>
                <a:lnTo>
                  <a:pt x="0" y="4417388"/>
                </a:lnTo>
                <a:lnTo>
                  <a:pt x="49735" y="4401593"/>
                </a:lnTo>
                <a:lnTo>
                  <a:pt x="98845" y="4384492"/>
                </a:lnTo>
                <a:lnTo>
                  <a:pt x="147304" y="4366102"/>
                </a:lnTo>
                <a:lnTo>
                  <a:pt x="195086" y="4346440"/>
                </a:lnTo>
                <a:lnTo>
                  <a:pt x="242168" y="4325523"/>
                </a:lnTo>
                <a:lnTo>
                  <a:pt x="288524" y="4303369"/>
                </a:lnTo>
                <a:lnTo>
                  <a:pt x="334129" y="4279994"/>
                </a:lnTo>
                <a:lnTo>
                  <a:pt x="378959" y="4255416"/>
                </a:lnTo>
                <a:lnTo>
                  <a:pt x="422987" y="4229652"/>
                </a:lnTo>
                <a:lnTo>
                  <a:pt x="466190" y="4202719"/>
                </a:lnTo>
                <a:lnTo>
                  <a:pt x="508541" y="4174634"/>
                </a:lnTo>
                <a:lnTo>
                  <a:pt x="550017" y="4145414"/>
                </a:lnTo>
                <a:lnTo>
                  <a:pt x="590593" y="4115077"/>
                </a:lnTo>
                <a:lnTo>
                  <a:pt x="630242" y="4083639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5355E5FF-E425-E1F3-2252-042EB33A5853}"/>
              </a:ext>
            </a:extLst>
          </p:cNvPr>
          <p:cNvSpPr/>
          <p:nvPr userDrawn="1"/>
        </p:nvSpPr>
        <p:spPr>
          <a:xfrm>
            <a:off x="17231199" y="834965"/>
            <a:ext cx="587375" cy="579755"/>
          </a:xfrm>
          <a:custGeom>
            <a:avLst/>
            <a:gdLst/>
            <a:ahLst/>
            <a:cxnLst/>
            <a:rect l="l" t="t" r="r" b="b"/>
            <a:pathLst>
              <a:path w="587375" h="579755">
                <a:moveTo>
                  <a:pt x="587259" y="0"/>
                </a:moveTo>
                <a:lnTo>
                  <a:pt x="513460" y="0"/>
                </a:lnTo>
                <a:lnTo>
                  <a:pt x="513460" y="285687"/>
                </a:lnTo>
                <a:lnTo>
                  <a:pt x="507898" y="334898"/>
                </a:lnTo>
                <a:lnTo>
                  <a:pt x="492045" y="380220"/>
                </a:lnTo>
                <a:lnTo>
                  <a:pt x="467148" y="420422"/>
                </a:lnTo>
                <a:lnTo>
                  <a:pt x="434457" y="454279"/>
                </a:lnTo>
                <a:lnTo>
                  <a:pt x="434457" y="0"/>
                </a:lnTo>
                <a:lnTo>
                  <a:pt x="358407" y="0"/>
                </a:lnTo>
                <a:lnTo>
                  <a:pt x="358407" y="495754"/>
                </a:lnTo>
                <a:lnTo>
                  <a:pt x="342810" y="499947"/>
                </a:lnTo>
                <a:lnTo>
                  <a:pt x="326785" y="503005"/>
                </a:lnTo>
                <a:lnTo>
                  <a:pt x="310376" y="504877"/>
                </a:lnTo>
                <a:lnTo>
                  <a:pt x="293624" y="505513"/>
                </a:lnTo>
                <a:lnTo>
                  <a:pt x="249374" y="501039"/>
                </a:lnTo>
                <a:lnTo>
                  <a:pt x="208134" y="488212"/>
                </a:lnTo>
                <a:lnTo>
                  <a:pt x="170795" y="467921"/>
                </a:lnTo>
                <a:lnTo>
                  <a:pt x="138248" y="441058"/>
                </a:lnTo>
                <a:lnTo>
                  <a:pt x="111383" y="408513"/>
                </a:lnTo>
                <a:lnTo>
                  <a:pt x="91090" y="371175"/>
                </a:lnTo>
                <a:lnTo>
                  <a:pt x="78262" y="329937"/>
                </a:lnTo>
                <a:lnTo>
                  <a:pt x="73788" y="285687"/>
                </a:lnTo>
                <a:lnTo>
                  <a:pt x="73788" y="272431"/>
                </a:lnTo>
                <a:lnTo>
                  <a:pt x="0" y="272431"/>
                </a:lnTo>
                <a:lnTo>
                  <a:pt x="0" y="285687"/>
                </a:lnTo>
                <a:lnTo>
                  <a:pt x="3850" y="333251"/>
                </a:lnTo>
                <a:lnTo>
                  <a:pt x="14995" y="378394"/>
                </a:lnTo>
                <a:lnTo>
                  <a:pt x="32825" y="420508"/>
                </a:lnTo>
                <a:lnTo>
                  <a:pt x="56731" y="458984"/>
                </a:lnTo>
                <a:lnTo>
                  <a:pt x="86103" y="493212"/>
                </a:lnTo>
                <a:lnTo>
                  <a:pt x="120332" y="522583"/>
                </a:lnTo>
                <a:lnTo>
                  <a:pt x="158808" y="546488"/>
                </a:lnTo>
                <a:lnTo>
                  <a:pt x="200921" y="564317"/>
                </a:lnTo>
                <a:lnTo>
                  <a:pt x="246063" y="575462"/>
                </a:lnTo>
                <a:lnTo>
                  <a:pt x="293624" y="579312"/>
                </a:lnTo>
                <a:lnTo>
                  <a:pt x="341190" y="575462"/>
                </a:lnTo>
                <a:lnTo>
                  <a:pt x="386336" y="564317"/>
                </a:lnTo>
                <a:lnTo>
                  <a:pt x="428452" y="546488"/>
                </a:lnTo>
                <a:lnTo>
                  <a:pt x="466929" y="522583"/>
                </a:lnTo>
                <a:lnTo>
                  <a:pt x="501158" y="493212"/>
                </a:lnTo>
                <a:lnTo>
                  <a:pt x="530530" y="458984"/>
                </a:lnTo>
                <a:lnTo>
                  <a:pt x="554435" y="420508"/>
                </a:lnTo>
                <a:lnTo>
                  <a:pt x="572265" y="378394"/>
                </a:lnTo>
                <a:lnTo>
                  <a:pt x="583409" y="333251"/>
                </a:lnTo>
                <a:lnTo>
                  <a:pt x="587259" y="285687"/>
                </a:lnTo>
                <a:lnTo>
                  <a:pt x="587259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2D629713-AEAF-885E-A2DA-057F8F00F1BB}"/>
              </a:ext>
            </a:extLst>
          </p:cNvPr>
          <p:cNvGrpSpPr/>
          <p:nvPr userDrawn="1"/>
        </p:nvGrpSpPr>
        <p:grpSpPr>
          <a:xfrm>
            <a:off x="18055059" y="680607"/>
            <a:ext cx="1011555" cy="467995"/>
            <a:chOff x="18055059" y="680607"/>
            <a:chExt cx="1011555" cy="467995"/>
          </a:xfrm>
        </p:grpSpPr>
        <p:pic>
          <p:nvPicPr>
            <p:cNvPr id="31" name="object 4">
              <a:extLst>
                <a:ext uri="{FF2B5EF4-FFF2-40B4-BE49-F238E27FC236}">
                  <a16:creationId xmlns:a16="http://schemas.microsoft.com/office/drawing/2014/main" id="{ABBCCA30-42EE-BB55-0FF1-57E6F4490529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065731" y="683266"/>
              <a:ext cx="91557" cy="243814"/>
            </a:xfrm>
            <a:prstGeom prst="rect">
              <a:avLst/>
            </a:prstGeom>
          </p:spPr>
        </p:pic>
        <p:pic>
          <p:nvPicPr>
            <p:cNvPr id="33" name="object 5">
              <a:extLst>
                <a:ext uri="{FF2B5EF4-FFF2-40B4-BE49-F238E27FC236}">
                  <a16:creationId xmlns:a16="http://schemas.microsoft.com/office/drawing/2014/main" id="{B8FDF681-ABFB-7F66-FF16-96EC9B23F14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8196176" y="683267"/>
              <a:ext cx="157984" cy="188088"/>
            </a:xfrm>
            <a:prstGeom prst="rect">
              <a:avLst/>
            </a:prstGeom>
          </p:spPr>
        </p:pic>
        <p:pic>
          <p:nvPicPr>
            <p:cNvPr id="34" name="object 6">
              <a:extLst>
                <a:ext uri="{FF2B5EF4-FFF2-40B4-BE49-F238E27FC236}">
                  <a16:creationId xmlns:a16="http://schemas.microsoft.com/office/drawing/2014/main" id="{44A85464-A38A-6145-56BB-4CE3D482788F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8384343" y="680607"/>
              <a:ext cx="284270" cy="190758"/>
            </a:xfrm>
            <a:prstGeom prst="rect">
              <a:avLst/>
            </a:prstGeom>
          </p:spPr>
        </p:pic>
        <p:sp>
          <p:nvSpPr>
            <p:cNvPr id="35" name="object 7">
              <a:extLst>
                <a:ext uri="{FF2B5EF4-FFF2-40B4-BE49-F238E27FC236}">
                  <a16:creationId xmlns:a16="http://schemas.microsoft.com/office/drawing/2014/main" id="{5FB6C1F4-6B58-0D50-1822-CA872078A830}"/>
                </a:ext>
              </a:extLst>
            </p:cNvPr>
            <p:cNvSpPr/>
            <p:nvPr/>
          </p:nvSpPr>
          <p:spPr>
            <a:xfrm>
              <a:off x="18695001" y="683267"/>
              <a:ext cx="50165" cy="186055"/>
            </a:xfrm>
            <a:custGeom>
              <a:avLst/>
              <a:gdLst/>
              <a:ahLst/>
              <a:cxnLst/>
              <a:rect l="l" t="t" r="r" b="b"/>
              <a:pathLst>
                <a:path w="50165" h="186055">
                  <a:moveTo>
                    <a:pt x="50134" y="0"/>
                  </a:moveTo>
                  <a:lnTo>
                    <a:pt x="0" y="0"/>
                  </a:lnTo>
                  <a:lnTo>
                    <a:pt x="0" y="185554"/>
                  </a:lnTo>
                  <a:lnTo>
                    <a:pt x="50134" y="185554"/>
                  </a:lnTo>
                  <a:lnTo>
                    <a:pt x="50134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8">
              <a:extLst>
                <a:ext uri="{FF2B5EF4-FFF2-40B4-BE49-F238E27FC236}">
                  <a16:creationId xmlns:a16="http://schemas.microsoft.com/office/drawing/2014/main" id="{F2E29D5C-A7FF-ADB8-7AFA-C4D9695BCCAE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778226" y="680607"/>
              <a:ext cx="146738" cy="190758"/>
            </a:xfrm>
            <a:prstGeom prst="rect">
              <a:avLst/>
            </a:prstGeom>
          </p:spPr>
        </p:pic>
        <p:sp>
          <p:nvSpPr>
            <p:cNvPr id="37" name="object 9">
              <a:extLst>
                <a:ext uri="{FF2B5EF4-FFF2-40B4-BE49-F238E27FC236}">
                  <a16:creationId xmlns:a16="http://schemas.microsoft.com/office/drawing/2014/main" id="{78F51688-6B85-6683-77FE-07B16398A124}"/>
                </a:ext>
              </a:extLst>
            </p:cNvPr>
            <p:cNvSpPr/>
            <p:nvPr/>
          </p:nvSpPr>
          <p:spPr>
            <a:xfrm>
              <a:off x="18952884" y="683411"/>
              <a:ext cx="109855" cy="185420"/>
            </a:xfrm>
            <a:custGeom>
              <a:avLst/>
              <a:gdLst/>
              <a:ahLst/>
              <a:cxnLst/>
              <a:rect l="l" t="t" r="r" b="b"/>
              <a:pathLst>
                <a:path w="109855" h="185419">
                  <a:moveTo>
                    <a:pt x="109601" y="0"/>
                  </a:moveTo>
                  <a:lnTo>
                    <a:pt x="0" y="0"/>
                  </a:lnTo>
                  <a:lnTo>
                    <a:pt x="0" y="40640"/>
                  </a:lnTo>
                  <a:lnTo>
                    <a:pt x="0" y="69850"/>
                  </a:lnTo>
                  <a:lnTo>
                    <a:pt x="0" y="109220"/>
                  </a:lnTo>
                  <a:lnTo>
                    <a:pt x="0" y="144780"/>
                  </a:lnTo>
                  <a:lnTo>
                    <a:pt x="0" y="185420"/>
                  </a:lnTo>
                  <a:lnTo>
                    <a:pt x="109601" y="185420"/>
                  </a:lnTo>
                  <a:lnTo>
                    <a:pt x="109601" y="144780"/>
                  </a:lnTo>
                  <a:lnTo>
                    <a:pt x="49885" y="144780"/>
                  </a:lnTo>
                  <a:lnTo>
                    <a:pt x="49885" y="109220"/>
                  </a:lnTo>
                  <a:lnTo>
                    <a:pt x="105181" y="109220"/>
                  </a:lnTo>
                  <a:lnTo>
                    <a:pt x="105181" y="69850"/>
                  </a:lnTo>
                  <a:lnTo>
                    <a:pt x="49885" y="69850"/>
                  </a:lnTo>
                  <a:lnTo>
                    <a:pt x="49885" y="40640"/>
                  </a:lnTo>
                  <a:lnTo>
                    <a:pt x="109601" y="40640"/>
                  </a:lnTo>
                  <a:lnTo>
                    <a:pt x="109601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10">
              <a:extLst>
                <a:ext uri="{FF2B5EF4-FFF2-40B4-BE49-F238E27FC236}">
                  <a16:creationId xmlns:a16="http://schemas.microsoft.com/office/drawing/2014/main" id="{B5D74ACE-9773-73BD-1E52-D3C22D7E0B6B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055059" y="965618"/>
              <a:ext cx="235657" cy="180287"/>
            </a:xfrm>
            <a:prstGeom prst="rect">
              <a:avLst/>
            </a:prstGeom>
          </p:spPr>
        </p:pic>
        <p:sp>
          <p:nvSpPr>
            <p:cNvPr id="39" name="object 11">
              <a:extLst>
                <a:ext uri="{FF2B5EF4-FFF2-40B4-BE49-F238E27FC236}">
                  <a16:creationId xmlns:a16="http://schemas.microsoft.com/office/drawing/2014/main" id="{6CBADF5D-887F-B94E-F801-64FDC82B8976}"/>
                </a:ext>
              </a:extLst>
            </p:cNvPr>
            <p:cNvSpPr/>
            <p:nvPr/>
          </p:nvSpPr>
          <p:spPr>
            <a:xfrm>
              <a:off x="18316233" y="965566"/>
              <a:ext cx="362585" cy="180340"/>
            </a:xfrm>
            <a:custGeom>
              <a:avLst/>
              <a:gdLst/>
              <a:ahLst/>
              <a:cxnLst/>
              <a:rect l="l" t="t" r="r" b="b"/>
              <a:pathLst>
                <a:path w="362584" h="180340">
                  <a:moveTo>
                    <a:pt x="29476" y="50"/>
                  </a:moveTo>
                  <a:lnTo>
                    <a:pt x="0" y="50"/>
                  </a:lnTo>
                  <a:lnTo>
                    <a:pt x="0" y="180340"/>
                  </a:lnTo>
                  <a:lnTo>
                    <a:pt x="29476" y="180340"/>
                  </a:lnTo>
                  <a:lnTo>
                    <a:pt x="29476" y="50"/>
                  </a:lnTo>
                  <a:close/>
                </a:path>
                <a:path w="362584" h="180340">
                  <a:moveTo>
                    <a:pt x="192379" y="0"/>
                  </a:moveTo>
                  <a:lnTo>
                    <a:pt x="56845" y="0"/>
                  </a:lnTo>
                  <a:lnTo>
                    <a:pt x="56845" y="25400"/>
                  </a:lnTo>
                  <a:lnTo>
                    <a:pt x="109880" y="25400"/>
                  </a:lnTo>
                  <a:lnTo>
                    <a:pt x="109880" y="180340"/>
                  </a:lnTo>
                  <a:lnTo>
                    <a:pt x="139344" y="180340"/>
                  </a:lnTo>
                  <a:lnTo>
                    <a:pt x="139344" y="25400"/>
                  </a:lnTo>
                  <a:lnTo>
                    <a:pt x="192379" y="25400"/>
                  </a:lnTo>
                  <a:lnTo>
                    <a:pt x="192379" y="0"/>
                  </a:lnTo>
                  <a:close/>
                </a:path>
                <a:path w="362584" h="180340">
                  <a:moveTo>
                    <a:pt x="362191" y="0"/>
                  </a:moveTo>
                  <a:lnTo>
                    <a:pt x="332587" y="0"/>
                  </a:lnTo>
                  <a:lnTo>
                    <a:pt x="332587" y="73660"/>
                  </a:lnTo>
                  <a:lnTo>
                    <a:pt x="249478" y="73660"/>
                  </a:lnTo>
                  <a:lnTo>
                    <a:pt x="249478" y="0"/>
                  </a:lnTo>
                  <a:lnTo>
                    <a:pt x="220002" y="0"/>
                  </a:lnTo>
                  <a:lnTo>
                    <a:pt x="220002" y="73660"/>
                  </a:lnTo>
                  <a:lnTo>
                    <a:pt x="220002" y="99060"/>
                  </a:lnTo>
                  <a:lnTo>
                    <a:pt x="220002" y="180340"/>
                  </a:lnTo>
                  <a:lnTo>
                    <a:pt x="249478" y="180340"/>
                  </a:lnTo>
                  <a:lnTo>
                    <a:pt x="249478" y="99060"/>
                  </a:lnTo>
                  <a:lnTo>
                    <a:pt x="332587" y="99060"/>
                  </a:lnTo>
                  <a:lnTo>
                    <a:pt x="332587" y="180340"/>
                  </a:lnTo>
                  <a:lnTo>
                    <a:pt x="362191" y="180340"/>
                  </a:lnTo>
                  <a:lnTo>
                    <a:pt x="362191" y="99060"/>
                  </a:lnTo>
                  <a:lnTo>
                    <a:pt x="362191" y="73660"/>
                  </a:lnTo>
                  <a:lnTo>
                    <a:pt x="362191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0" name="object 12">
              <a:extLst>
                <a:ext uri="{FF2B5EF4-FFF2-40B4-BE49-F238E27FC236}">
                  <a16:creationId xmlns:a16="http://schemas.microsoft.com/office/drawing/2014/main" id="{71FE535B-FE57-79F6-E4A0-2BE2C4E53236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8717022" y="962781"/>
              <a:ext cx="168947" cy="185596"/>
            </a:xfrm>
            <a:prstGeom prst="rect">
              <a:avLst/>
            </a:prstGeom>
          </p:spPr>
        </p:pic>
        <p:pic>
          <p:nvPicPr>
            <p:cNvPr id="41" name="object 13">
              <a:extLst>
                <a:ext uri="{FF2B5EF4-FFF2-40B4-BE49-F238E27FC236}">
                  <a16:creationId xmlns:a16="http://schemas.microsoft.com/office/drawing/2014/main" id="{3149D3DB-9920-0A60-F90B-3173F99FBD65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8923085" y="965618"/>
              <a:ext cx="142927" cy="182758"/>
            </a:xfrm>
            <a:prstGeom prst="rect">
              <a:avLst/>
            </a:prstGeom>
          </p:spPr>
        </p:pic>
      </p:grpSp>
      <p:sp>
        <p:nvSpPr>
          <p:cNvPr id="42" name="object 14">
            <a:extLst>
              <a:ext uri="{FF2B5EF4-FFF2-40B4-BE49-F238E27FC236}">
                <a16:creationId xmlns:a16="http://schemas.microsoft.com/office/drawing/2014/main" id="{227C4C00-786E-1002-6690-0C0DA51B5E50}"/>
              </a:ext>
            </a:extLst>
          </p:cNvPr>
          <p:cNvSpPr/>
          <p:nvPr userDrawn="1"/>
        </p:nvSpPr>
        <p:spPr>
          <a:xfrm>
            <a:off x="19091898" y="965566"/>
            <a:ext cx="135890" cy="180340"/>
          </a:xfrm>
          <a:custGeom>
            <a:avLst/>
            <a:gdLst/>
            <a:ahLst/>
            <a:cxnLst/>
            <a:rect l="l" t="t" r="r" b="b"/>
            <a:pathLst>
              <a:path w="135890" h="180340">
                <a:moveTo>
                  <a:pt x="135534" y="0"/>
                </a:moveTo>
                <a:lnTo>
                  <a:pt x="0" y="0"/>
                </a:lnTo>
                <a:lnTo>
                  <a:pt x="0" y="25400"/>
                </a:lnTo>
                <a:lnTo>
                  <a:pt x="53022" y="25400"/>
                </a:lnTo>
                <a:lnTo>
                  <a:pt x="53022" y="180340"/>
                </a:lnTo>
                <a:lnTo>
                  <a:pt x="82499" y="180340"/>
                </a:lnTo>
                <a:lnTo>
                  <a:pt x="82499" y="25400"/>
                </a:lnTo>
                <a:lnTo>
                  <a:pt x="135534" y="25400"/>
                </a:lnTo>
                <a:lnTo>
                  <a:pt x="1355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15">
            <a:extLst>
              <a:ext uri="{FF2B5EF4-FFF2-40B4-BE49-F238E27FC236}">
                <a16:creationId xmlns:a16="http://schemas.microsoft.com/office/drawing/2014/main" id="{128F738E-BEA7-1A9A-8C2C-928A3903E91C}"/>
              </a:ext>
            </a:extLst>
          </p:cNvPr>
          <p:cNvSpPr/>
          <p:nvPr userDrawn="1"/>
        </p:nvSpPr>
        <p:spPr>
          <a:xfrm>
            <a:off x="18065725" y="1229409"/>
            <a:ext cx="142875" cy="180975"/>
          </a:xfrm>
          <a:custGeom>
            <a:avLst/>
            <a:gdLst/>
            <a:ahLst/>
            <a:cxnLst/>
            <a:rect l="l" t="t" r="r" b="b"/>
            <a:pathLst>
              <a:path w="142875" h="180975">
                <a:moveTo>
                  <a:pt x="98767" y="169291"/>
                </a:moveTo>
                <a:lnTo>
                  <a:pt x="12598" y="169291"/>
                </a:lnTo>
                <a:lnTo>
                  <a:pt x="12598" y="381"/>
                </a:lnTo>
                <a:lnTo>
                  <a:pt x="0" y="381"/>
                </a:lnTo>
                <a:lnTo>
                  <a:pt x="0" y="169291"/>
                </a:lnTo>
                <a:lnTo>
                  <a:pt x="0" y="180721"/>
                </a:lnTo>
                <a:lnTo>
                  <a:pt x="98767" y="180721"/>
                </a:lnTo>
                <a:lnTo>
                  <a:pt x="98767" y="169291"/>
                </a:lnTo>
                <a:close/>
              </a:path>
              <a:path w="142875" h="180975">
                <a:moveTo>
                  <a:pt x="142532" y="0"/>
                </a:moveTo>
                <a:lnTo>
                  <a:pt x="129921" y="0"/>
                </a:lnTo>
                <a:lnTo>
                  <a:pt x="129921" y="180733"/>
                </a:lnTo>
                <a:lnTo>
                  <a:pt x="142532" y="180733"/>
                </a:lnTo>
                <a:lnTo>
                  <a:pt x="142532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4" name="object 16">
            <a:extLst>
              <a:ext uri="{FF2B5EF4-FFF2-40B4-BE49-F238E27FC236}">
                <a16:creationId xmlns:a16="http://schemas.microsoft.com/office/drawing/2014/main" id="{EE767C1E-0307-111B-020D-FF490A14F214}"/>
              </a:ext>
            </a:extLst>
          </p:cNvPr>
          <p:cNvGrpSpPr/>
          <p:nvPr userDrawn="1"/>
        </p:nvGrpSpPr>
        <p:grpSpPr>
          <a:xfrm>
            <a:off x="18235083" y="1226554"/>
            <a:ext cx="1077595" cy="186055"/>
            <a:chOff x="18235083" y="1226554"/>
            <a:chExt cx="1077595" cy="186055"/>
          </a:xfrm>
        </p:grpSpPr>
        <p:sp>
          <p:nvSpPr>
            <p:cNvPr id="45" name="object 17">
              <a:extLst>
                <a:ext uri="{FF2B5EF4-FFF2-40B4-BE49-F238E27FC236}">
                  <a16:creationId xmlns:a16="http://schemas.microsoft.com/office/drawing/2014/main" id="{300C3ADE-8DC4-FE7C-FD51-D23B77600441}"/>
                </a:ext>
              </a:extLst>
            </p:cNvPr>
            <p:cNvSpPr/>
            <p:nvPr/>
          </p:nvSpPr>
          <p:spPr>
            <a:xfrm>
              <a:off x="18235080" y="1229409"/>
              <a:ext cx="170180" cy="180975"/>
            </a:xfrm>
            <a:custGeom>
              <a:avLst/>
              <a:gdLst/>
              <a:ahLst/>
              <a:cxnLst/>
              <a:rect l="l" t="t" r="r" b="b"/>
              <a:pathLst>
                <a:path w="170180" h="180975">
                  <a:moveTo>
                    <a:pt x="130175" y="381"/>
                  </a:moveTo>
                  <a:lnTo>
                    <a:pt x="0" y="381"/>
                  </a:lnTo>
                  <a:lnTo>
                    <a:pt x="0" y="11811"/>
                  </a:lnTo>
                  <a:lnTo>
                    <a:pt x="58724" y="11811"/>
                  </a:lnTo>
                  <a:lnTo>
                    <a:pt x="58724" y="180721"/>
                  </a:lnTo>
                  <a:lnTo>
                    <a:pt x="71450" y="180721"/>
                  </a:lnTo>
                  <a:lnTo>
                    <a:pt x="71450" y="11811"/>
                  </a:lnTo>
                  <a:lnTo>
                    <a:pt x="130175" y="11811"/>
                  </a:lnTo>
                  <a:lnTo>
                    <a:pt x="130175" y="381"/>
                  </a:lnTo>
                  <a:close/>
                </a:path>
                <a:path w="170180" h="180975">
                  <a:moveTo>
                    <a:pt x="169608" y="0"/>
                  </a:moveTo>
                  <a:lnTo>
                    <a:pt x="156997" y="0"/>
                  </a:lnTo>
                  <a:lnTo>
                    <a:pt x="156997" y="180733"/>
                  </a:lnTo>
                  <a:lnTo>
                    <a:pt x="169608" y="180733"/>
                  </a:lnTo>
                  <a:lnTo>
                    <a:pt x="169608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6" name="object 18">
              <a:extLst>
                <a:ext uri="{FF2B5EF4-FFF2-40B4-BE49-F238E27FC236}">
                  <a16:creationId xmlns:a16="http://schemas.microsoft.com/office/drawing/2014/main" id="{3508BF80-2107-7E20-18D6-542589FD3101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8446220" y="1226554"/>
              <a:ext cx="147367" cy="186046"/>
            </a:xfrm>
            <a:prstGeom prst="rect">
              <a:avLst/>
            </a:prstGeom>
          </p:spPr>
        </p:pic>
        <p:pic>
          <p:nvPicPr>
            <p:cNvPr id="47" name="object 19">
              <a:extLst>
                <a:ext uri="{FF2B5EF4-FFF2-40B4-BE49-F238E27FC236}">
                  <a16:creationId xmlns:a16="http://schemas.microsoft.com/office/drawing/2014/main" id="{4E4A2DB1-6206-91F8-36D1-BD8BCCC51082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8613357" y="1228662"/>
              <a:ext cx="283342" cy="181470"/>
            </a:xfrm>
            <a:prstGeom prst="rect">
              <a:avLst/>
            </a:prstGeom>
          </p:spPr>
        </p:pic>
        <p:sp>
          <p:nvSpPr>
            <p:cNvPr id="48" name="object 20">
              <a:extLst>
                <a:ext uri="{FF2B5EF4-FFF2-40B4-BE49-F238E27FC236}">
                  <a16:creationId xmlns:a16="http://schemas.microsoft.com/office/drawing/2014/main" id="{F9CB9849-B0A4-99D9-8E0E-0B8D1ABB1A09}"/>
                </a:ext>
              </a:extLst>
            </p:cNvPr>
            <p:cNvSpPr/>
            <p:nvPr/>
          </p:nvSpPr>
          <p:spPr>
            <a:xfrm>
              <a:off x="18923528" y="1229407"/>
              <a:ext cx="12700" cy="180975"/>
            </a:xfrm>
            <a:custGeom>
              <a:avLst/>
              <a:gdLst/>
              <a:ahLst/>
              <a:cxnLst/>
              <a:rect l="l" t="t" r="r" b="b"/>
              <a:pathLst>
                <a:path w="12700" h="180975">
                  <a:moveTo>
                    <a:pt x="12606" y="0"/>
                  </a:moveTo>
                  <a:lnTo>
                    <a:pt x="0" y="0"/>
                  </a:lnTo>
                  <a:lnTo>
                    <a:pt x="0" y="180727"/>
                  </a:lnTo>
                  <a:lnTo>
                    <a:pt x="12606" y="180727"/>
                  </a:lnTo>
                  <a:lnTo>
                    <a:pt x="12606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9" name="object 21">
              <a:extLst>
                <a:ext uri="{FF2B5EF4-FFF2-40B4-BE49-F238E27FC236}">
                  <a16:creationId xmlns:a16="http://schemas.microsoft.com/office/drawing/2014/main" id="{EF5CE092-A781-5612-97CF-0CAB01CB1E8D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8977667" y="1226555"/>
              <a:ext cx="161576" cy="186046"/>
            </a:xfrm>
            <a:prstGeom prst="rect">
              <a:avLst/>
            </a:prstGeom>
          </p:spPr>
        </p:pic>
        <p:pic>
          <p:nvPicPr>
            <p:cNvPr id="50" name="object 22">
              <a:extLst>
                <a:ext uri="{FF2B5EF4-FFF2-40B4-BE49-F238E27FC236}">
                  <a16:creationId xmlns:a16="http://schemas.microsoft.com/office/drawing/2014/main" id="{6FB3AD6B-6716-6E45-4579-A09069FE75FA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9180778" y="1229403"/>
              <a:ext cx="131409" cy="180727"/>
            </a:xfrm>
            <a:prstGeom prst="rect">
              <a:avLst/>
            </a:prstGeom>
          </p:spPr>
        </p:pic>
      </p:grpSp>
      <p:sp>
        <p:nvSpPr>
          <p:cNvPr id="51" name="object 23">
            <a:extLst>
              <a:ext uri="{FF2B5EF4-FFF2-40B4-BE49-F238E27FC236}">
                <a16:creationId xmlns:a16="http://schemas.microsoft.com/office/drawing/2014/main" id="{FBB76F9C-9251-416E-C88B-B4CB0DEC4FA2}"/>
              </a:ext>
            </a:extLst>
          </p:cNvPr>
          <p:cNvSpPr/>
          <p:nvPr userDrawn="1"/>
        </p:nvSpPr>
        <p:spPr>
          <a:xfrm>
            <a:off x="17305002" y="681277"/>
            <a:ext cx="513715" cy="76200"/>
          </a:xfrm>
          <a:custGeom>
            <a:avLst/>
            <a:gdLst/>
            <a:ahLst/>
            <a:cxnLst/>
            <a:rect l="l" t="t" r="r" b="b"/>
            <a:pathLst>
              <a:path w="513715" h="76200">
                <a:moveTo>
                  <a:pt x="513418" y="0"/>
                </a:moveTo>
                <a:lnTo>
                  <a:pt x="0" y="0"/>
                </a:lnTo>
                <a:lnTo>
                  <a:pt x="0" y="76050"/>
                </a:lnTo>
                <a:lnTo>
                  <a:pt x="513418" y="76050"/>
                </a:lnTo>
                <a:lnTo>
                  <a:pt x="513418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Inhaltsplatzhalter 52">
            <a:extLst>
              <a:ext uri="{FF2B5EF4-FFF2-40B4-BE49-F238E27FC236}">
                <a16:creationId xmlns:a16="http://schemas.microsoft.com/office/drawing/2014/main" id="{A82CE079-35E1-D408-D03C-736721997C6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606550" y="4978399"/>
            <a:ext cx="7200000" cy="6474317"/>
          </a:xfrm>
        </p:spPr>
        <p:txBody>
          <a:bodyPr/>
          <a:lstStyle>
            <a:lvl1pPr>
              <a:defRPr sz="40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800">
                <a:latin typeface="+mn-lt"/>
              </a:defRPr>
            </a:lvl3pPr>
            <a:lvl4pPr>
              <a:defRPr sz="2800">
                <a:latin typeface="+mn-lt"/>
              </a:defRPr>
            </a:lvl4pPr>
            <a:lvl5pPr>
              <a:defRPr sz="2800">
                <a:latin typeface="+mn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20</a:t>
            </a:r>
          </a:p>
        </p:txBody>
      </p:sp>
      <p:sp>
        <p:nvSpPr>
          <p:cNvPr id="55" name="object 27">
            <a:extLst>
              <a:ext uri="{FF2B5EF4-FFF2-40B4-BE49-F238E27FC236}">
                <a16:creationId xmlns:a16="http://schemas.microsoft.com/office/drawing/2014/main" id="{206AB66D-308F-5300-A134-9C546A265A61}"/>
              </a:ext>
            </a:extLst>
          </p:cNvPr>
          <p:cNvSpPr/>
          <p:nvPr userDrawn="1"/>
        </p:nvSpPr>
        <p:spPr>
          <a:xfrm>
            <a:off x="16098986" y="11673393"/>
            <a:ext cx="4005579" cy="677545"/>
          </a:xfrm>
          <a:custGeom>
            <a:avLst/>
            <a:gdLst/>
            <a:ahLst/>
            <a:cxnLst/>
            <a:rect l="l" t="t" r="r" b="b"/>
            <a:pathLst>
              <a:path w="4005580" h="677545">
                <a:moveTo>
                  <a:pt x="4005113" y="0"/>
                </a:moveTo>
                <a:lnTo>
                  <a:pt x="0" y="0"/>
                </a:lnTo>
                <a:lnTo>
                  <a:pt x="0" y="677036"/>
                </a:lnTo>
                <a:lnTo>
                  <a:pt x="4005113" y="67703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Inhaltsplatzhalter 52">
            <a:extLst>
              <a:ext uri="{FF2B5EF4-FFF2-40B4-BE49-F238E27FC236}">
                <a16:creationId xmlns:a16="http://schemas.microsoft.com/office/drawing/2014/main" id="{E76F4DF9-0E11-2917-298E-9432F00188C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899650" y="5015960"/>
            <a:ext cx="7200000" cy="6436755"/>
          </a:xfrm>
        </p:spPr>
        <p:txBody>
          <a:bodyPr/>
          <a:lstStyle>
            <a:lvl1pPr>
              <a:defRPr sz="40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800">
                <a:latin typeface="+mn-lt"/>
              </a:defRPr>
            </a:lvl3pPr>
            <a:lvl4pPr>
              <a:defRPr sz="2800">
                <a:latin typeface="+mn-lt"/>
              </a:defRPr>
            </a:lvl4pPr>
            <a:lvl5pPr>
              <a:defRPr sz="2800">
                <a:latin typeface="+mn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20</a:t>
            </a:r>
          </a:p>
        </p:txBody>
      </p:sp>
      <p:sp>
        <p:nvSpPr>
          <p:cNvPr id="8" name="Textplatzhalter 34">
            <a:extLst>
              <a:ext uri="{FF2B5EF4-FFF2-40B4-BE49-F238E27FC236}">
                <a16:creationId xmlns:a16="http://schemas.microsoft.com/office/drawing/2014/main" id="{E414DC1D-896E-1687-BD62-E576F1853E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12069" y="2633271"/>
            <a:ext cx="13833061" cy="769441"/>
          </a:xfrm>
        </p:spPr>
        <p:txBody>
          <a:bodyPr/>
          <a:lstStyle>
            <a:lvl1pPr>
              <a:defRPr sz="50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4000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6000">
                <a:latin typeface="+mj-lt"/>
              </a:defRPr>
            </a:lvl3pPr>
            <a:lvl4pPr>
              <a:defRPr sz="6000">
                <a:latin typeface="+mj-lt"/>
              </a:defRPr>
            </a:lvl4pPr>
            <a:lvl5pPr>
              <a:defRPr sz="6000">
                <a:latin typeface="+mj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930755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F47D03-739D-D4DC-FFAA-BA72C962E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1112" y="1399683"/>
            <a:ext cx="13927338" cy="923330"/>
          </a:xfrm>
        </p:spPr>
        <p:txBody>
          <a:bodyPr/>
          <a:lstStyle>
            <a:lvl1pPr>
              <a:defRPr sz="60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F0C7E04-8B71-FEC6-1C1A-A3CC7CF6E3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JUSTICE WITHOUT LITIGATION II - ECONOMIC PART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A192B04-9983-C054-884B-977902B38BB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12th March 2025 | Rom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5D6F7-F4AB-1D2D-31D3-0558EEB8F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38100">
              <a:lnSpc>
                <a:spcPct val="100000"/>
              </a:lnSpc>
              <a:spcBef>
                <a:spcPts val="85"/>
              </a:spcBef>
            </a:pPr>
            <a:fld id="{81D60167-4931-47E6-BA6A-407CBD079E47}" type="slidenum">
              <a:rPr lang="de-DE" spc="15" smtClean="0"/>
              <a:t>‹#›</a:t>
            </a:fld>
            <a:endParaRPr lang="de-DE" spc="15" dirty="0"/>
          </a:p>
        </p:txBody>
      </p:sp>
      <p:sp>
        <p:nvSpPr>
          <p:cNvPr id="28" name="object 23">
            <a:extLst>
              <a:ext uri="{FF2B5EF4-FFF2-40B4-BE49-F238E27FC236}">
                <a16:creationId xmlns:a16="http://schemas.microsoft.com/office/drawing/2014/main" id="{BFD4C767-559D-B761-6434-849A19035F02}"/>
              </a:ext>
            </a:extLst>
          </p:cNvPr>
          <p:cNvSpPr/>
          <p:nvPr userDrawn="1"/>
        </p:nvSpPr>
        <p:spPr>
          <a:xfrm>
            <a:off x="497344" y="0"/>
            <a:ext cx="630555" cy="4417695"/>
          </a:xfrm>
          <a:custGeom>
            <a:avLst/>
            <a:gdLst/>
            <a:ahLst/>
            <a:cxnLst/>
            <a:rect l="l" t="t" r="r" b="b"/>
            <a:pathLst>
              <a:path w="630555" h="4417695">
                <a:moveTo>
                  <a:pt x="630242" y="4083639"/>
                </a:moveTo>
                <a:lnTo>
                  <a:pt x="630242" y="4073744"/>
                </a:lnTo>
                <a:lnTo>
                  <a:pt x="630106" y="4073859"/>
                </a:lnTo>
                <a:lnTo>
                  <a:pt x="629855" y="4074090"/>
                </a:lnTo>
                <a:lnTo>
                  <a:pt x="629855" y="0"/>
                </a:lnTo>
              </a:path>
              <a:path w="630555" h="4417695">
                <a:moveTo>
                  <a:pt x="2434" y="0"/>
                </a:moveTo>
                <a:lnTo>
                  <a:pt x="0" y="2699357"/>
                </a:lnTo>
                <a:lnTo>
                  <a:pt x="0" y="4417388"/>
                </a:lnTo>
                <a:lnTo>
                  <a:pt x="49735" y="4401593"/>
                </a:lnTo>
                <a:lnTo>
                  <a:pt x="98845" y="4384492"/>
                </a:lnTo>
                <a:lnTo>
                  <a:pt x="147304" y="4366102"/>
                </a:lnTo>
                <a:lnTo>
                  <a:pt x="195086" y="4346440"/>
                </a:lnTo>
                <a:lnTo>
                  <a:pt x="242168" y="4325523"/>
                </a:lnTo>
                <a:lnTo>
                  <a:pt x="288524" y="4303369"/>
                </a:lnTo>
                <a:lnTo>
                  <a:pt x="334129" y="4279994"/>
                </a:lnTo>
                <a:lnTo>
                  <a:pt x="378959" y="4255416"/>
                </a:lnTo>
                <a:lnTo>
                  <a:pt x="422987" y="4229652"/>
                </a:lnTo>
                <a:lnTo>
                  <a:pt x="466190" y="4202719"/>
                </a:lnTo>
                <a:lnTo>
                  <a:pt x="508541" y="4174634"/>
                </a:lnTo>
                <a:lnTo>
                  <a:pt x="550017" y="4145414"/>
                </a:lnTo>
                <a:lnTo>
                  <a:pt x="590593" y="4115077"/>
                </a:lnTo>
                <a:lnTo>
                  <a:pt x="630242" y="4083639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5355E5FF-E425-E1F3-2252-042EB33A5853}"/>
              </a:ext>
            </a:extLst>
          </p:cNvPr>
          <p:cNvSpPr/>
          <p:nvPr userDrawn="1"/>
        </p:nvSpPr>
        <p:spPr>
          <a:xfrm>
            <a:off x="17231199" y="834965"/>
            <a:ext cx="587375" cy="579755"/>
          </a:xfrm>
          <a:custGeom>
            <a:avLst/>
            <a:gdLst/>
            <a:ahLst/>
            <a:cxnLst/>
            <a:rect l="l" t="t" r="r" b="b"/>
            <a:pathLst>
              <a:path w="587375" h="579755">
                <a:moveTo>
                  <a:pt x="587259" y="0"/>
                </a:moveTo>
                <a:lnTo>
                  <a:pt x="513460" y="0"/>
                </a:lnTo>
                <a:lnTo>
                  <a:pt x="513460" y="285687"/>
                </a:lnTo>
                <a:lnTo>
                  <a:pt x="507898" y="334898"/>
                </a:lnTo>
                <a:lnTo>
                  <a:pt x="492045" y="380220"/>
                </a:lnTo>
                <a:lnTo>
                  <a:pt x="467148" y="420422"/>
                </a:lnTo>
                <a:lnTo>
                  <a:pt x="434457" y="454279"/>
                </a:lnTo>
                <a:lnTo>
                  <a:pt x="434457" y="0"/>
                </a:lnTo>
                <a:lnTo>
                  <a:pt x="358407" y="0"/>
                </a:lnTo>
                <a:lnTo>
                  <a:pt x="358407" y="495754"/>
                </a:lnTo>
                <a:lnTo>
                  <a:pt x="342810" y="499947"/>
                </a:lnTo>
                <a:lnTo>
                  <a:pt x="326785" y="503005"/>
                </a:lnTo>
                <a:lnTo>
                  <a:pt x="310376" y="504877"/>
                </a:lnTo>
                <a:lnTo>
                  <a:pt x="293624" y="505513"/>
                </a:lnTo>
                <a:lnTo>
                  <a:pt x="249374" y="501039"/>
                </a:lnTo>
                <a:lnTo>
                  <a:pt x="208134" y="488212"/>
                </a:lnTo>
                <a:lnTo>
                  <a:pt x="170795" y="467921"/>
                </a:lnTo>
                <a:lnTo>
                  <a:pt x="138248" y="441058"/>
                </a:lnTo>
                <a:lnTo>
                  <a:pt x="111383" y="408513"/>
                </a:lnTo>
                <a:lnTo>
                  <a:pt x="91090" y="371175"/>
                </a:lnTo>
                <a:lnTo>
                  <a:pt x="78262" y="329937"/>
                </a:lnTo>
                <a:lnTo>
                  <a:pt x="73788" y="285687"/>
                </a:lnTo>
                <a:lnTo>
                  <a:pt x="73788" y="272431"/>
                </a:lnTo>
                <a:lnTo>
                  <a:pt x="0" y="272431"/>
                </a:lnTo>
                <a:lnTo>
                  <a:pt x="0" y="285687"/>
                </a:lnTo>
                <a:lnTo>
                  <a:pt x="3850" y="333251"/>
                </a:lnTo>
                <a:lnTo>
                  <a:pt x="14995" y="378394"/>
                </a:lnTo>
                <a:lnTo>
                  <a:pt x="32825" y="420508"/>
                </a:lnTo>
                <a:lnTo>
                  <a:pt x="56731" y="458984"/>
                </a:lnTo>
                <a:lnTo>
                  <a:pt x="86103" y="493212"/>
                </a:lnTo>
                <a:lnTo>
                  <a:pt x="120332" y="522583"/>
                </a:lnTo>
                <a:lnTo>
                  <a:pt x="158808" y="546488"/>
                </a:lnTo>
                <a:lnTo>
                  <a:pt x="200921" y="564317"/>
                </a:lnTo>
                <a:lnTo>
                  <a:pt x="246063" y="575462"/>
                </a:lnTo>
                <a:lnTo>
                  <a:pt x="293624" y="579312"/>
                </a:lnTo>
                <a:lnTo>
                  <a:pt x="341190" y="575462"/>
                </a:lnTo>
                <a:lnTo>
                  <a:pt x="386336" y="564317"/>
                </a:lnTo>
                <a:lnTo>
                  <a:pt x="428452" y="546488"/>
                </a:lnTo>
                <a:lnTo>
                  <a:pt x="466929" y="522583"/>
                </a:lnTo>
                <a:lnTo>
                  <a:pt x="501158" y="493212"/>
                </a:lnTo>
                <a:lnTo>
                  <a:pt x="530530" y="458984"/>
                </a:lnTo>
                <a:lnTo>
                  <a:pt x="554435" y="420508"/>
                </a:lnTo>
                <a:lnTo>
                  <a:pt x="572265" y="378394"/>
                </a:lnTo>
                <a:lnTo>
                  <a:pt x="583409" y="333251"/>
                </a:lnTo>
                <a:lnTo>
                  <a:pt x="587259" y="285687"/>
                </a:lnTo>
                <a:lnTo>
                  <a:pt x="587259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2D629713-AEAF-885E-A2DA-057F8F00F1BB}"/>
              </a:ext>
            </a:extLst>
          </p:cNvPr>
          <p:cNvGrpSpPr/>
          <p:nvPr userDrawn="1"/>
        </p:nvGrpSpPr>
        <p:grpSpPr>
          <a:xfrm>
            <a:off x="18055059" y="680607"/>
            <a:ext cx="1011555" cy="467995"/>
            <a:chOff x="18055059" y="680607"/>
            <a:chExt cx="1011555" cy="467995"/>
          </a:xfrm>
        </p:grpSpPr>
        <p:pic>
          <p:nvPicPr>
            <p:cNvPr id="31" name="object 4">
              <a:extLst>
                <a:ext uri="{FF2B5EF4-FFF2-40B4-BE49-F238E27FC236}">
                  <a16:creationId xmlns:a16="http://schemas.microsoft.com/office/drawing/2014/main" id="{ABBCCA30-42EE-BB55-0FF1-57E6F4490529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065731" y="683266"/>
              <a:ext cx="91557" cy="243814"/>
            </a:xfrm>
            <a:prstGeom prst="rect">
              <a:avLst/>
            </a:prstGeom>
          </p:spPr>
        </p:pic>
        <p:pic>
          <p:nvPicPr>
            <p:cNvPr id="33" name="object 5">
              <a:extLst>
                <a:ext uri="{FF2B5EF4-FFF2-40B4-BE49-F238E27FC236}">
                  <a16:creationId xmlns:a16="http://schemas.microsoft.com/office/drawing/2014/main" id="{B8FDF681-ABFB-7F66-FF16-96EC9B23F14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8196176" y="683267"/>
              <a:ext cx="157984" cy="188088"/>
            </a:xfrm>
            <a:prstGeom prst="rect">
              <a:avLst/>
            </a:prstGeom>
          </p:spPr>
        </p:pic>
        <p:pic>
          <p:nvPicPr>
            <p:cNvPr id="34" name="object 6">
              <a:extLst>
                <a:ext uri="{FF2B5EF4-FFF2-40B4-BE49-F238E27FC236}">
                  <a16:creationId xmlns:a16="http://schemas.microsoft.com/office/drawing/2014/main" id="{44A85464-A38A-6145-56BB-4CE3D482788F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8384343" y="680607"/>
              <a:ext cx="284270" cy="190758"/>
            </a:xfrm>
            <a:prstGeom prst="rect">
              <a:avLst/>
            </a:prstGeom>
          </p:spPr>
        </p:pic>
        <p:sp>
          <p:nvSpPr>
            <p:cNvPr id="35" name="object 7">
              <a:extLst>
                <a:ext uri="{FF2B5EF4-FFF2-40B4-BE49-F238E27FC236}">
                  <a16:creationId xmlns:a16="http://schemas.microsoft.com/office/drawing/2014/main" id="{5FB6C1F4-6B58-0D50-1822-CA872078A830}"/>
                </a:ext>
              </a:extLst>
            </p:cNvPr>
            <p:cNvSpPr/>
            <p:nvPr/>
          </p:nvSpPr>
          <p:spPr>
            <a:xfrm>
              <a:off x="18695001" y="683267"/>
              <a:ext cx="50165" cy="186055"/>
            </a:xfrm>
            <a:custGeom>
              <a:avLst/>
              <a:gdLst/>
              <a:ahLst/>
              <a:cxnLst/>
              <a:rect l="l" t="t" r="r" b="b"/>
              <a:pathLst>
                <a:path w="50165" h="186055">
                  <a:moveTo>
                    <a:pt x="50134" y="0"/>
                  </a:moveTo>
                  <a:lnTo>
                    <a:pt x="0" y="0"/>
                  </a:lnTo>
                  <a:lnTo>
                    <a:pt x="0" y="185554"/>
                  </a:lnTo>
                  <a:lnTo>
                    <a:pt x="50134" y="185554"/>
                  </a:lnTo>
                  <a:lnTo>
                    <a:pt x="50134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8">
              <a:extLst>
                <a:ext uri="{FF2B5EF4-FFF2-40B4-BE49-F238E27FC236}">
                  <a16:creationId xmlns:a16="http://schemas.microsoft.com/office/drawing/2014/main" id="{F2E29D5C-A7FF-ADB8-7AFA-C4D9695BCCAE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778226" y="680607"/>
              <a:ext cx="146738" cy="190758"/>
            </a:xfrm>
            <a:prstGeom prst="rect">
              <a:avLst/>
            </a:prstGeom>
          </p:spPr>
        </p:pic>
        <p:sp>
          <p:nvSpPr>
            <p:cNvPr id="37" name="object 9">
              <a:extLst>
                <a:ext uri="{FF2B5EF4-FFF2-40B4-BE49-F238E27FC236}">
                  <a16:creationId xmlns:a16="http://schemas.microsoft.com/office/drawing/2014/main" id="{78F51688-6B85-6683-77FE-07B16398A124}"/>
                </a:ext>
              </a:extLst>
            </p:cNvPr>
            <p:cNvSpPr/>
            <p:nvPr/>
          </p:nvSpPr>
          <p:spPr>
            <a:xfrm>
              <a:off x="18952884" y="683411"/>
              <a:ext cx="109855" cy="185420"/>
            </a:xfrm>
            <a:custGeom>
              <a:avLst/>
              <a:gdLst/>
              <a:ahLst/>
              <a:cxnLst/>
              <a:rect l="l" t="t" r="r" b="b"/>
              <a:pathLst>
                <a:path w="109855" h="185419">
                  <a:moveTo>
                    <a:pt x="109601" y="0"/>
                  </a:moveTo>
                  <a:lnTo>
                    <a:pt x="0" y="0"/>
                  </a:lnTo>
                  <a:lnTo>
                    <a:pt x="0" y="40640"/>
                  </a:lnTo>
                  <a:lnTo>
                    <a:pt x="0" y="69850"/>
                  </a:lnTo>
                  <a:lnTo>
                    <a:pt x="0" y="109220"/>
                  </a:lnTo>
                  <a:lnTo>
                    <a:pt x="0" y="144780"/>
                  </a:lnTo>
                  <a:lnTo>
                    <a:pt x="0" y="185420"/>
                  </a:lnTo>
                  <a:lnTo>
                    <a:pt x="109601" y="185420"/>
                  </a:lnTo>
                  <a:lnTo>
                    <a:pt x="109601" y="144780"/>
                  </a:lnTo>
                  <a:lnTo>
                    <a:pt x="49885" y="144780"/>
                  </a:lnTo>
                  <a:lnTo>
                    <a:pt x="49885" y="109220"/>
                  </a:lnTo>
                  <a:lnTo>
                    <a:pt x="105181" y="109220"/>
                  </a:lnTo>
                  <a:lnTo>
                    <a:pt x="105181" y="69850"/>
                  </a:lnTo>
                  <a:lnTo>
                    <a:pt x="49885" y="69850"/>
                  </a:lnTo>
                  <a:lnTo>
                    <a:pt x="49885" y="40640"/>
                  </a:lnTo>
                  <a:lnTo>
                    <a:pt x="109601" y="40640"/>
                  </a:lnTo>
                  <a:lnTo>
                    <a:pt x="109601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10">
              <a:extLst>
                <a:ext uri="{FF2B5EF4-FFF2-40B4-BE49-F238E27FC236}">
                  <a16:creationId xmlns:a16="http://schemas.microsoft.com/office/drawing/2014/main" id="{B5D74ACE-9773-73BD-1E52-D3C22D7E0B6B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055059" y="965618"/>
              <a:ext cx="235657" cy="180287"/>
            </a:xfrm>
            <a:prstGeom prst="rect">
              <a:avLst/>
            </a:prstGeom>
          </p:spPr>
        </p:pic>
        <p:sp>
          <p:nvSpPr>
            <p:cNvPr id="39" name="object 11">
              <a:extLst>
                <a:ext uri="{FF2B5EF4-FFF2-40B4-BE49-F238E27FC236}">
                  <a16:creationId xmlns:a16="http://schemas.microsoft.com/office/drawing/2014/main" id="{6CBADF5D-887F-B94E-F801-64FDC82B8976}"/>
                </a:ext>
              </a:extLst>
            </p:cNvPr>
            <p:cNvSpPr/>
            <p:nvPr/>
          </p:nvSpPr>
          <p:spPr>
            <a:xfrm>
              <a:off x="18316233" y="965566"/>
              <a:ext cx="362585" cy="180340"/>
            </a:xfrm>
            <a:custGeom>
              <a:avLst/>
              <a:gdLst/>
              <a:ahLst/>
              <a:cxnLst/>
              <a:rect l="l" t="t" r="r" b="b"/>
              <a:pathLst>
                <a:path w="362584" h="180340">
                  <a:moveTo>
                    <a:pt x="29476" y="50"/>
                  </a:moveTo>
                  <a:lnTo>
                    <a:pt x="0" y="50"/>
                  </a:lnTo>
                  <a:lnTo>
                    <a:pt x="0" y="180340"/>
                  </a:lnTo>
                  <a:lnTo>
                    <a:pt x="29476" y="180340"/>
                  </a:lnTo>
                  <a:lnTo>
                    <a:pt x="29476" y="50"/>
                  </a:lnTo>
                  <a:close/>
                </a:path>
                <a:path w="362584" h="180340">
                  <a:moveTo>
                    <a:pt x="192379" y="0"/>
                  </a:moveTo>
                  <a:lnTo>
                    <a:pt x="56845" y="0"/>
                  </a:lnTo>
                  <a:lnTo>
                    <a:pt x="56845" y="25400"/>
                  </a:lnTo>
                  <a:lnTo>
                    <a:pt x="109880" y="25400"/>
                  </a:lnTo>
                  <a:lnTo>
                    <a:pt x="109880" y="180340"/>
                  </a:lnTo>
                  <a:lnTo>
                    <a:pt x="139344" y="180340"/>
                  </a:lnTo>
                  <a:lnTo>
                    <a:pt x="139344" y="25400"/>
                  </a:lnTo>
                  <a:lnTo>
                    <a:pt x="192379" y="25400"/>
                  </a:lnTo>
                  <a:lnTo>
                    <a:pt x="192379" y="0"/>
                  </a:lnTo>
                  <a:close/>
                </a:path>
                <a:path w="362584" h="180340">
                  <a:moveTo>
                    <a:pt x="362191" y="0"/>
                  </a:moveTo>
                  <a:lnTo>
                    <a:pt x="332587" y="0"/>
                  </a:lnTo>
                  <a:lnTo>
                    <a:pt x="332587" y="73660"/>
                  </a:lnTo>
                  <a:lnTo>
                    <a:pt x="249478" y="73660"/>
                  </a:lnTo>
                  <a:lnTo>
                    <a:pt x="249478" y="0"/>
                  </a:lnTo>
                  <a:lnTo>
                    <a:pt x="220002" y="0"/>
                  </a:lnTo>
                  <a:lnTo>
                    <a:pt x="220002" y="73660"/>
                  </a:lnTo>
                  <a:lnTo>
                    <a:pt x="220002" y="99060"/>
                  </a:lnTo>
                  <a:lnTo>
                    <a:pt x="220002" y="180340"/>
                  </a:lnTo>
                  <a:lnTo>
                    <a:pt x="249478" y="180340"/>
                  </a:lnTo>
                  <a:lnTo>
                    <a:pt x="249478" y="99060"/>
                  </a:lnTo>
                  <a:lnTo>
                    <a:pt x="332587" y="99060"/>
                  </a:lnTo>
                  <a:lnTo>
                    <a:pt x="332587" y="180340"/>
                  </a:lnTo>
                  <a:lnTo>
                    <a:pt x="362191" y="180340"/>
                  </a:lnTo>
                  <a:lnTo>
                    <a:pt x="362191" y="99060"/>
                  </a:lnTo>
                  <a:lnTo>
                    <a:pt x="362191" y="73660"/>
                  </a:lnTo>
                  <a:lnTo>
                    <a:pt x="362191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0" name="object 12">
              <a:extLst>
                <a:ext uri="{FF2B5EF4-FFF2-40B4-BE49-F238E27FC236}">
                  <a16:creationId xmlns:a16="http://schemas.microsoft.com/office/drawing/2014/main" id="{71FE535B-FE57-79F6-E4A0-2BE2C4E53236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8717022" y="962781"/>
              <a:ext cx="168947" cy="185596"/>
            </a:xfrm>
            <a:prstGeom prst="rect">
              <a:avLst/>
            </a:prstGeom>
          </p:spPr>
        </p:pic>
        <p:pic>
          <p:nvPicPr>
            <p:cNvPr id="41" name="object 13">
              <a:extLst>
                <a:ext uri="{FF2B5EF4-FFF2-40B4-BE49-F238E27FC236}">
                  <a16:creationId xmlns:a16="http://schemas.microsoft.com/office/drawing/2014/main" id="{3149D3DB-9920-0A60-F90B-3173F99FBD65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8923085" y="965618"/>
              <a:ext cx="142927" cy="182758"/>
            </a:xfrm>
            <a:prstGeom prst="rect">
              <a:avLst/>
            </a:prstGeom>
          </p:spPr>
        </p:pic>
      </p:grpSp>
      <p:sp>
        <p:nvSpPr>
          <p:cNvPr id="42" name="object 14">
            <a:extLst>
              <a:ext uri="{FF2B5EF4-FFF2-40B4-BE49-F238E27FC236}">
                <a16:creationId xmlns:a16="http://schemas.microsoft.com/office/drawing/2014/main" id="{227C4C00-786E-1002-6690-0C0DA51B5E50}"/>
              </a:ext>
            </a:extLst>
          </p:cNvPr>
          <p:cNvSpPr/>
          <p:nvPr userDrawn="1"/>
        </p:nvSpPr>
        <p:spPr>
          <a:xfrm>
            <a:off x="19091898" y="965566"/>
            <a:ext cx="135890" cy="180340"/>
          </a:xfrm>
          <a:custGeom>
            <a:avLst/>
            <a:gdLst/>
            <a:ahLst/>
            <a:cxnLst/>
            <a:rect l="l" t="t" r="r" b="b"/>
            <a:pathLst>
              <a:path w="135890" h="180340">
                <a:moveTo>
                  <a:pt x="135534" y="0"/>
                </a:moveTo>
                <a:lnTo>
                  <a:pt x="0" y="0"/>
                </a:lnTo>
                <a:lnTo>
                  <a:pt x="0" y="25400"/>
                </a:lnTo>
                <a:lnTo>
                  <a:pt x="53022" y="25400"/>
                </a:lnTo>
                <a:lnTo>
                  <a:pt x="53022" y="180340"/>
                </a:lnTo>
                <a:lnTo>
                  <a:pt x="82499" y="180340"/>
                </a:lnTo>
                <a:lnTo>
                  <a:pt x="82499" y="25400"/>
                </a:lnTo>
                <a:lnTo>
                  <a:pt x="135534" y="25400"/>
                </a:lnTo>
                <a:lnTo>
                  <a:pt x="1355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15">
            <a:extLst>
              <a:ext uri="{FF2B5EF4-FFF2-40B4-BE49-F238E27FC236}">
                <a16:creationId xmlns:a16="http://schemas.microsoft.com/office/drawing/2014/main" id="{128F738E-BEA7-1A9A-8C2C-928A3903E91C}"/>
              </a:ext>
            </a:extLst>
          </p:cNvPr>
          <p:cNvSpPr/>
          <p:nvPr userDrawn="1"/>
        </p:nvSpPr>
        <p:spPr>
          <a:xfrm>
            <a:off x="18065725" y="1229409"/>
            <a:ext cx="142875" cy="180975"/>
          </a:xfrm>
          <a:custGeom>
            <a:avLst/>
            <a:gdLst/>
            <a:ahLst/>
            <a:cxnLst/>
            <a:rect l="l" t="t" r="r" b="b"/>
            <a:pathLst>
              <a:path w="142875" h="180975">
                <a:moveTo>
                  <a:pt x="98767" y="169291"/>
                </a:moveTo>
                <a:lnTo>
                  <a:pt x="12598" y="169291"/>
                </a:lnTo>
                <a:lnTo>
                  <a:pt x="12598" y="381"/>
                </a:lnTo>
                <a:lnTo>
                  <a:pt x="0" y="381"/>
                </a:lnTo>
                <a:lnTo>
                  <a:pt x="0" y="169291"/>
                </a:lnTo>
                <a:lnTo>
                  <a:pt x="0" y="180721"/>
                </a:lnTo>
                <a:lnTo>
                  <a:pt x="98767" y="180721"/>
                </a:lnTo>
                <a:lnTo>
                  <a:pt x="98767" y="169291"/>
                </a:lnTo>
                <a:close/>
              </a:path>
              <a:path w="142875" h="180975">
                <a:moveTo>
                  <a:pt x="142532" y="0"/>
                </a:moveTo>
                <a:lnTo>
                  <a:pt x="129921" y="0"/>
                </a:lnTo>
                <a:lnTo>
                  <a:pt x="129921" y="180733"/>
                </a:lnTo>
                <a:lnTo>
                  <a:pt x="142532" y="180733"/>
                </a:lnTo>
                <a:lnTo>
                  <a:pt x="142532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4" name="object 16">
            <a:extLst>
              <a:ext uri="{FF2B5EF4-FFF2-40B4-BE49-F238E27FC236}">
                <a16:creationId xmlns:a16="http://schemas.microsoft.com/office/drawing/2014/main" id="{EE767C1E-0307-111B-020D-FF490A14F214}"/>
              </a:ext>
            </a:extLst>
          </p:cNvPr>
          <p:cNvGrpSpPr/>
          <p:nvPr userDrawn="1"/>
        </p:nvGrpSpPr>
        <p:grpSpPr>
          <a:xfrm>
            <a:off x="18235083" y="1226554"/>
            <a:ext cx="1077595" cy="186055"/>
            <a:chOff x="18235083" y="1226554"/>
            <a:chExt cx="1077595" cy="186055"/>
          </a:xfrm>
        </p:grpSpPr>
        <p:sp>
          <p:nvSpPr>
            <p:cNvPr id="45" name="object 17">
              <a:extLst>
                <a:ext uri="{FF2B5EF4-FFF2-40B4-BE49-F238E27FC236}">
                  <a16:creationId xmlns:a16="http://schemas.microsoft.com/office/drawing/2014/main" id="{300C3ADE-8DC4-FE7C-FD51-D23B77600441}"/>
                </a:ext>
              </a:extLst>
            </p:cNvPr>
            <p:cNvSpPr/>
            <p:nvPr/>
          </p:nvSpPr>
          <p:spPr>
            <a:xfrm>
              <a:off x="18235080" y="1229409"/>
              <a:ext cx="170180" cy="180975"/>
            </a:xfrm>
            <a:custGeom>
              <a:avLst/>
              <a:gdLst/>
              <a:ahLst/>
              <a:cxnLst/>
              <a:rect l="l" t="t" r="r" b="b"/>
              <a:pathLst>
                <a:path w="170180" h="180975">
                  <a:moveTo>
                    <a:pt x="130175" y="381"/>
                  </a:moveTo>
                  <a:lnTo>
                    <a:pt x="0" y="381"/>
                  </a:lnTo>
                  <a:lnTo>
                    <a:pt x="0" y="11811"/>
                  </a:lnTo>
                  <a:lnTo>
                    <a:pt x="58724" y="11811"/>
                  </a:lnTo>
                  <a:lnTo>
                    <a:pt x="58724" y="180721"/>
                  </a:lnTo>
                  <a:lnTo>
                    <a:pt x="71450" y="180721"/>
                  </a:lnTo>
                  <a:lnTo>
                    <a:pt x="71450" y="11811"/>
                  </a:lnTo>
                  <a:lnTo>
                    <a:pt x="130175" y="11811"/>
                  </a:lnTo>
                  <a:lnTo>
                    <a:pt x="130175" y="381"/>
                  </a:lnTo>
                  <a:close/>
                </a:path>
                <a:path w="170180" h="180975">
                  <a:moveTo>
                    <a:pt x="169608" y="0"/>
                  </a:moveTo>
                  <a:lnTo>
                    <a:pt x="156997" y="0"/>
                  </a:lnTo>
                  <a:lnTo>
                    <a:pt x="156997" y="180733"/>
                  </a:lnTo>
                  <a:lnTo>
                    <a:pt x="169608" y="180733"/>
                  </a:lnTo>
                  <a:lnTo>
                    <a:pt x="169608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6" name="object 18">
              <a:extLst>
                <a:ext uri="{FF2B5EF4-FFF2-40B4-BE49-F238E27FC236}">
                  <a16:creationId xmlns:a16="http://schemas.microsoft.com/office/drawing/2014/main" id="{3508BF80-2107-7E20-18D6-542589FD3101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8446220" y="1226554"/>
              <a:ext cx="147367" cy="186046"/>
            </a:xfrm>
            <a:prstGeom prst="rect">
              <a:avLst/>
            </a:prstGeom>
          </p:spPr>
        </p:pic>
        <p:pic>
          <p:nvPicPr>
            <p:cNvPr id="47" name="object 19">
              <a:extLst>
                <a:ext uri="{FF2B5EF4-FFF2-40B4-BE49-F238E27FC236}">
                  <a16:creationId xmlns:a16="http://schemas.microsoft.com/office/drawing/2014/main" id="{4E4A2DB1-6206-91F8-36D1-BD8BCCC51082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8613357" y="1228662"/>
              <a:ext cx="283342" cy="181470"/>
            </a:xfrm>
            <a:prstGeom prst="rect">
              <a:avLst/>
            </a:prstGeom>
          </p:spPr>
        </p:pic>
        <p:sp>
          <p:nvSpPr>
            <p:cNvPr id="48" name="object 20">
              <a:extLst>
                <a:ext uri="{FF2B5EF4-FFF2-40B4-BE49-F238E27FC236}">
                  <a16:creationId xmlns:a16="http://schemas.microsoft.com/office/drawing/2014/main" id="{F9CB9849-B0A4-99D9-8E0E-0B8D1ABB1A09}"/>
                </a:ext>
              </a:extLst>
            </p:cNvPr>
            <p:cNvSpPr/>
            <p:nvPr/>
          </p:nvSpPr>
          <p:spPr>
            <a:xfrm>
              <a:off x="18923528" y="1229407"/>
              <a:ext cx="12700" cy="180975"/>
            </a:xfrm>
            <a:custGeom>
              <a:avLst/>
              <a:gdLst/>
              <a:ahLst/>
              <a:cxnLst/>
              <a:rect l="l" t="t" r="r" b="b"/>
              <a:pathLst>
                <a:path w="12700" h="180975">
                  <a:moveTo>
                    <a:pt x="12606" y="0"/>
                  </a:moveTo>
                  <a:lnTo>
                    <a:pt x="0" y="0"/>
                  </a:lnTo>
                  <a:lnTo>
                    <a:pt x="0" y="180727"/>
                  </a:lnTo>
                  <a:lnTo>
                    <a:pt x="12606" y="180727"/>
                  </a:lnTo>
                  <a:lnTo>
                    <a:pt x="12606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9" name="object 21">
              <a:extLst>
                <a:ext uri="{FF2B5EF4-FFF2-40B4-BE49-F238E27FC236}">
                  <a16:creationId xmlns:a16="http://schemas.microsoft.com/office/drawing/2014/main" id="{EF5CE092-A781-5612-97CF-0CAB01CB1E8D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8977667" y="1226555"/>
              <a:ext cx="161576" cy="186046"/>
            </a:xfrm>
            <a:prstGeom prst="rect">
              <a:avLst/>
            </a:prstGeom>
          </p:spPr>
        </p:pic>
        <p:pic>
          <p:nvPicPr>
            <p:cNvPr id="50" name="object 22">
              <a:extLst>
                <a:ext uri="{FF2B5EF4-FFF2-40B4-BE49-F238E27FC236}">
                  <a16:creationId xmlns:a16="http://schemas.microsoft.com/office/drawing/2014/main" id="{6FB3AD6B-6716-6E45-4579-A09069FE75FA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9180778" y="1229403"/>
              <a:ext cx="131409" cy="180727"/>
            </a:xfrm>
            <a:prstGeom prst="rect">
              <a:avLst/>
            </a:prstGeom>
          </p:spPr>
        </p:pic>
      </p:grpSp>
      <p:sp>
        <p:nvSpPr>
          <p:cNvPr id="51" name="object 23">
            <a:extLst>
              <a:ext uri="{FF2B5EF4-FFF2-40B4-BE49-F238E27FC236}">
                <a16:creationId xmlns:a16="http://schemas.microsoft.com/office/drawing/2014/main" id="{FBB76F9C-9251-416E-C88B-B4CB0DEC4FA2}"/>
              </a:ext>
            </a:extLst>
          </p:cNvPr>
          <p:cNvSpPr/>
          <p:nvPr userDrawn="1"/>
        </p:nvSpPr>
        <p:spPr>
          <a:xfrm>
            <a:off x="17305002" y="681277"/>
            <a:ext cx="513715" cy="76200"/>
          </a:xfrm>
          <a:custGeom>
            <a:avLst/>
            <a:gdLst/>
            <a:ahLst/>
            <a:cxnLst/>
            <a:rect l="l" t="t" r="r" b="b"/>
            <a:pathLst>
              <a:path w="513715" h="76200">
                <a:moveTo>
                  <a:pt x="513418" y="0"/>
                </a:moveTo>
                <a:lnTo>
                  <a:pt x="0" y="0"/>
                </a:lnTo>
                <a:lnTo>
                  <a:pt x="0" y="76050"/>
                </a:lnTo>
                <a:lnTo>
                  <a:pt x="513418" y="76050"/>
                </a:lnTo>
                <a:lnTo>
                  <a:pt x="513418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Inhaltsplatzhalter 52">
            <a:extLst>
              <a:ext uri="{FF2B5EF4-FFF2-40B4-BE49-F238E27FC236}">
                <a16:creationId xmlns:a16="http://schemas.microsoft.com/office/drawing/2014/main" id="{A82CE079-35E1-D408-D03C-736721997C6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606550" y="4978400"/>
            <a:ext cx="7200000" cy="6400800"/>
          </a:xfrm>
        </p:spPr>
        <p:txBody>
          <a:bodyPr/>
          <a:lstStyle>
            <a:lvl1pPr>
              <a:defRPr sz="40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800">
                <a:latin typeface="+mn-lt"/>
              </a:defRPr>
            </a:lvl3pPr>
            <a:lvl4pPr>
              <a:defRPr sz="2800">
                <a:latin typeface="+mn-lt"/>
              </a:defRPr>
            </a:lvl4pPr>
            <a:lvl5pPr>
              <a:defRPr sz="2800">
                <a:latin typeface="+mn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20</a:t>
            </a:r>
          </a:p>
        </p:txBody>
      </p:sp>
      <p:sp>
        <p:nvSpPr>
          <p:cNvPr id="55" name="object 27">
            <a:extLst>
              <a:ext uri="{FF2B5EF4-FFF2-40B4-BE49-F238E27FC236}">
                <a16:creationId xmlns:a16="http://schemas.microsoft.com/office/drawing/2014/main" id="{206AB66D-308F-5300-A134-9C546A265A61}"/>
              </a:ext>
            </a:extLst>
          </p:cNvPr>
          <p:cNvSpPr/>
          <p:nvPr userDrawn="1"/>
        </p:nvSpPr>
        <p:spPr>
          <a:xfrm>
            <a:off x="16098986" y="11673393"/>
            <a:ext cx="4005579" cy="677545"/>
          </a:xfrm>
          <a:custGeom>
            <a:avLst/>
            <a:gdLst/>
            <a:ahLst/>
            <a:cxnLst/>
            <a:rect l="l" t="t" r="r" b="b"/>
            <a:pathLst>
              <a:path w="4005580" h="677545">
                <a:moveTo>
                  <a:pt x="4005113" y="0"/>
                </a:moveTo>
                <a:lnTo>
                  <a:pt x="0" y="0"/>
                </a:lnTo>
                <a:lnTo>
                  <a:pt x="0" y="677036"/>
                </a:lnTo>
                <a:lnTo>
                  <a:pt x="4005113" y="67703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Inhaltsplatzhalter 52">
            <a:extLst>
              <a:ext uri="{FF2B5EF4-FFF2-40B4-BE49-F238E27FC236}">
                <a16:creationId xmlns:a16="http://schemas.microsoft.com/office/drawing/2014/main" id="{E76F4DF9-0E11-2917-298E-9432F00188C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899650" y="5015960"/>
            <a:ext cx="7200000" cy="6363239"/>
          </a:xfrm>
        </p:spPr>
        <p:txBody>
          <a:bodyPr/>
          <a:lstStyle>
            <a:lvl1pPr>
              <a:defRPr sz="40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800">
                <a:latin typeface="+mn-lt"/>
              </a:defRPr>
            </a:lvl3pPr>
            <a:lvl4pPr>
              <a:defRPr sz="2800">
                <a:latin typeface="+mn-lt"/>
              </a:defRPr>
            </a:lvl4pPr>
            <a:lvl5pPr>
              <a:defRPr sz="2800">
                <a:latin typeface="+mn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20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189E7782-10B6-DA05-93CE-29C0C8E804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11112" y="4058529"/>
            <a:ext cx="7195438" cy="553998"/>
          </a:xfrm>
        </p:spPr>
        <p:txBody>
          <a:bodyPr/>
          <a:lstStyle>
            <a:lvl1pPr>
              <a:defRPr sz="3600" b="1">
                <a:solidFill>
                  <a:schemeClr val="accent1"/>
                </a:solidFill>
                <a:latin typeface="+mj-lt"/>
              </a:defRPr>
            </a:lvl1pPr>
            <a:lvl2pPr>
              <a:defRPr sz="2900"/>
            </a:lvl2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5A27E0F0-2B52-249E-DB3F-071CD18C0B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899650" y="4140696"/>
            <a:ext cx="7195438" cy="553998"/>
          </a:xfrm>
        </p:spPr>
        <p:txBody>
          <a:bodyPr/>
          <a:lstStyle>
            <a:lvl1pPr>
              <a:defRPr sz="3600" b="1">
                <a:solidFill>
                  <a:schemeClr val="accent1"/>
                </a:solidFill>
                <a:latin typeface="+mj-lt"/>
              </a:defRPr>
            </a:lvl1pPr>
            <a:lvl2pPr>
              <a:defRPr sz="2900"/>
            </a:lvl2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Textplatzhalter 34">
            <a:extLst>
              <a:ext uri="{FF2B5EF4-FFF2-40B4-BE49-F238E27FC236}">
                <a16:creationId xmlns:a16="http://schemas.microsoft.com/office/drawing/2014/main" id="{93643362-D658-541D-07FC-DBA316EF56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612069" y="2633271"/>
            <a:ext cx="13833061" cy="769441"/>
          </a:xfrm>
        </p:spPr>
        <p:txBody>
          <a:bodyPr/>
          <a:lstStyle>
            <a:lvl1pPr>
              <a:defRPr sz="50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4000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6000">
                <a:latin typeface="+mj-lt"/>
              </a:defRPr>
            </a:lvl3pPr>
            <a:lvl4pPr>
              <a:defRPr sz="6000">
                <a:latin typeface="+mj-lt"/>
              </a:defRPr>
            </a:lvl4pPr>
            <a:lvl5pPr>
              <a:defRPr sz="6000">
                <a:latin typeface="+mj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543489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7231199" y="11172070"/>
            <a:ext cx="587375" cy="579755"/>
          </a:xfrm>
          <a:custGeom>
            <a:avLst/>
            <a:gdLst/>
            <a:ahLst/>
            <a:cxnLst/>
            <a:rect l="l" t="t" r="r" b="b"/>
            <a:pathLst>
              <a:path w="587375" h="579754">
                <a:moveTo>
                  <a:pt x="587259" y="0"/>
                </a:moveTo>
                <a:lnTo>
                  <a:pt x="513460" y="0"/>
                </a:lnTo>
                <a:lnTo>
                  <a:pt x="513460" y="285687"/>
                </a:lnTo>
                <a:lnTo>
                  <a:pt x="507898" y="334898"/>
                </a:lnTo>
                <a:lnTo>
                  <a:pt x="492045" y="380220"/>
                </a:lnTo>
                <a:lnTo>
                  <a:pt x="467148" y="420422"/>
                </a:lnTo>
                <a:lnTo>
                  <a:pt x="434457" y="454279"/>
                </a:lnTo>
                <a:lnTo>
                  <a:pt x="434457" y="0"/>
                </a:lnTo>
                <a:lnTo>
                  <a:pt x="358407" y="0"/>
                </a:lnTo>
                <a:lnTo>
                  <a:pt x="358407" y="495754"/>
                </a:lnTo>
                <a:lnTo>
                  <a:pt x="342810" y="499947"/>
                </a:lnTo>
                <a:lnTo>
                  <a:pt x="326785" y="503005"/>
                </a:lnTo>
                <a:lnTo>
                  <a:pt x="310376" y="504877"/>
                </a:lnTo>
                <a:lnTo>
                  <a:pt x="293624" y="505513"/>
                </a:lnTo>
                <a:lnTo>
                  <a:pt x="249374" y="501039"/>
                </a:lnTo>
                <a:lnTo>
                  <a:pt x="208134" y="488212"/>
                </a:lnTo>
                <a:lnTo>
                  <a:pt x="170795" y="467921"/>
                </a:lnTo>
                <a:lnTo>
                  <a:pt x="138248" y="441058"/>
                </a:lnTo>
                <a:lnTo>
                  <a:pt x="111383" y="408513"/>
                </a:lnTo>
                <a:lnTo>
                  <a:pt x="91090" y="371175"/>
                </a:lnTo>
                <a:lnTo>
                  <a:pt x="78262" y="329937"/>
                </a:lnTo>
                <a:lnTo>
                  <a:pt x="73788" y="285687"/>
                </a:lnTo>
                <a:lnTo>
                  <a:pt x="73788" y="272431"/>
                </a:lnTo>
                <a:lnTo>
                  <a:pt x="0" y="272431"/>
                </a:lnTo>
                <a:lnTo>
                  <a:pt x="0" y="285687"/>
                </a:lnTo>
                <a:lnTo>
                  <a:pt x="3850" y="333251"/>
                </a:lnTo>
                <a:lnTo>
                  <a:pt x="14995" y="378394"/>
                </a:lnTo>
                <a:lnTo>
                  <a:pt x="32825" y="420508"/>
                </a:lnTo>
                <a:lnTo>
                  <a:pt x="56731" y="458984"/>
                </a:lnTo>
                <a:lnTo>
                  <a:pt x="86103" y="493212"/>
                </a:lnTo>
                <a:lnTo>
                  <a:pt x="120332" y="522583"/>
                </a:lnTo>
                <a:lnTo>
                  <a:pt x="158808" y="546488"/>
                </a:lnTo>
                <a:lnTo>
                  <a:pt x="200921" y="564317"/>
                </a:lnTo>
                <a:lnTo>
                  <a:pt x="246063" y="575462"/>
                </a:lnTo>
                <a:lnTo>
                  <a:pt x="293624" y="579312"/>
                </a:lnTo>
                <a:lnTo>
                  <a:pt x="341190" y="575462"/>
                </a:lnTo>
                <a:lnTo>
                  <a:pt x="386336" y="564317"/>
                </a:lnTo>
                <a:lnTo>
                  <a:pt x="428452" y="546488"/>
                </a:lnTo>
                <a:lnTo>
                  <a:pt x="466929" y="522583"/>
                </a:lnTo>
                <a:lnTo>
                  <a:pt x="501158" y="493212"/>
                </a:lnTo>
                <a:lnTo>
                  <a:pt x="530530" y="458984"/>
                </a:lnTo>
                <a:lnTo>
                  <a:pt x="554435" y="420508"/>
                </a:lnTo>
                <a:lnTo>
                  <a:pt x="572265" y="378394"/>
                </a:lnTo>
                <a:lnTo>
                  <a:pt x="583409" y="333251"/>
                </a:lnTo>
                <a:lnTo>
                  <a:pt x="587259" y="285687"/>
                </a:lnTo>
                <a:lnTo>
                  <a:pt x="587259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8065731" y="11020372"/>
            <a:ext cx="91557" cy="243814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8196176" y="11020373"/>
            <a:ext cx="157984" cy="188088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8384343" y="11017713"/>
            <a:ext cx="284270" cy="190748"/>
          </a:xfrm>
          <a:prstGeom prst="rect">
            <a:avLst/>
          </a:prstGeom>
        </p:spPr>
      </p:pic>
      <p:sp>
        <p:nvSpPr>
          <p:cNvPr id="20" name="bg object 20"/>
          <p:cNvSpPr/>
          <p:nvPr/>
        </p:nvSpPr>
        <p:spPr>
          <a:xfrm>
            <a:off x="18695001" y="11020376"/>
            <a:ext cx="50165" cy="186055"/>
          </a:xfrm>
          <a:custGeom>
            <a:avLst/>
            <a:gdLst/>
            <a:ahLst/>
            <a:cxnLst/>
            <a:rect l="l" t="t" r="r" b="b"/>
            <a:pathLst>
              <a:path w="50165" h="186054">
                <a:moveTo>
                  <a:pt x="50134" y="0"/>
                </a:moveTo>
                <a:lnTo>
                  <a:pt x="0" y="0"/>
                </a:lnTo>
                <a:lnTo>
                  <a:pt x="0" y="185554"/>
                </a:lnTo>
                <a:lnTo>
                  <a:pt x="50134" y="185554"/>
                </a:lnTo>
                <a:lnTo>
                  <a:pt x="501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1" name="bg object 21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8778226" y="11017713"/>
            <a:ext cx="146738" cy="190748"/>
          </a:xfrm>
          <a:prstGeom prst="rect">
            <a:avLst/>
          </a:prstGeom>
        </p:spPr>
      </p:pic>
      <p:sp>
        <p:nvSpPr>
          <p:cNvPr id="22" name="bg object 22"/>
          <p:cNvSpPr/>
          <p:nvPr/>
        </p:nvSpPr>
        <p:spPr>
          <a:xfrm>
            <a:off x="18952884" y="11020512"/>
            <a:ext cx="109855" cy="185420"/>
          </a:xfrm>
          <a:custGeom>
            <a:avLst/>
            <a:gdLst/>
            <a:ahLst/>
            <a:cxnLst/>
            <a:rect l="l" t="t" r="r" b="b"/>
            <a:pathLst>
              <a:path w="109855" h="185420">
                <a:moveTo>
                  <a:pt x="109601" y="0"/>
                </a:moveTo>
                <a:lnTo>
                  <a:pt x="0" y="0"/>
                </a:lnTo>
                <a:lnTo>
                  <a:pt x="0" y="40640"/>
                </a:lnTo>
                <a:lnTo>
                  <a:pt x="0" y="69850"/>
                </a:lnTo>
                <a:lnTo>
                  <a:pt x="0" y="109220"/>
                </a:lnTo>
                <a:lnTo>
                  <a:pt x="0" y="144780"/>
                </a:lnTo>
                <a:lnTo>
                  <a:pt x="0" y="185420"/>
                </a:lnTo>
                <a:lnTo>
                  <a:pt x="109601" y="185420"/>
                </a:lnTo>
                <a:lnTo>
                  <a:pt x="109601" y="144780"/>
                </a:lnTo>
                <a:lnTo>
                  <a:pt x="49885" y="144780"/>
                </a:lnTo>
                <a:lnTo>
                  <a:pt x="49885" y="109220"/>
                </a:lnTo>
                <a:lnTo>
                  <a:pt x="105181" y="109220"/>
                </a:lnTo>
                <a:lnTo>
                  <a:pt x="105181" y="69850"/>
                </a:lnTo>
                <a:lnTo>
                  <a:pt x="49885" y="69850"/>
                </a:lnTo>
                <a:lnTo>
                  <a:pt x="49885" y="40640"/>
                </a:lnTo>
                <a:lnTo>
                  <a:pt x="109601" y="40640"/>
                </a:lnTo>
                <a:lnTo>
                  <a:pt x="109601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" name="bg object 23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8055059" y="11302723"/>
            <a:ext cx="235657" cy="180287"/>
          </a:xfrm>
          <a:prstGeom prst="rect">
            <a:avLst/>
          </a:prstGeom>
        </p:spPr>
      </p:pic>
      <p:sp>
        <p:nvSpPr>
          <p:cNvPr id="24" name="bg object 24"/>
          <p:cNvSpPr/>
          <p:nvPr/>
        </p:nvSpPr>
        <p:spPr>
          <a:xfrm>
            <a:off x="18316233" y="11302681"/>
            <a:ext cx="362585" cy="180340"/>
          </a:xfrm>
          <a:custGeom>
            <a:avLst/>
            <a:gdLst/>
            <a:ahLst/>
            <a:cxnLst/>
            <a:rect l="l" t="t" r="r" b="b"/>
            <a:pathLst>
              <a:path w="362584" h="180340">
                <a:moveTo>
                  <a:pt x="29476" y="50"/>
                </a:moveTo>
                <a:lnTo>
                  <a:pt x="0" y="50"/>
                </a:lnTo>
                <a:lnTo>
                  <a:pt x="0" y="180340"/>
                </a:lnTo>
                <a:lnTo>
                  <a:pt x="29476" y="180340"/>
                </a:lnTo>
                <a:lnTo>
                  <a:pt x="29476" y="50"/>
                </a:lnTo>
                <a:close/>
              </a:path>
              <a:path w="362584" h="180340">
                <a:moveTo>
                  <a:pt x="192379" y="0"/>
                </a:moveTo>
                <a:lnTo>
                  <a:pt x="56845" y="0"/>
                </a:lnTo>
                <a:lnTo>
                  <a:pt x="56845" y="25400"/>
                </a:lnTo>
                <a:lnTo>
                  <a:pt x="109880" y="25400"/>
                </a:lnTo>
                <a:lnTo>
                  <a:pt x="109880" y="180340"/>
                </a:lnTo>
                <a:lnTo>
                  <a:pt x="139344" y="180340"/>
                </a:lnTo>
                <a:lnTo>
                  <a:pt x="139344" y="25400"/>
                </a:lnTo>
                <a:lnTo>
                  <a:pt x="192379" y="25400"/>
                </a:lnTo>
                <a:lnTo>
                  <a:pt x="192379" y="0"/>
                </a:lnTo>
                <a:close/>
              </a:path>
              <a:path w="362584" h="180340">
                <a:moveTo>
                  <a:pt x="362191" y="0"/>
                </a:moveTo>
                <a:lnTo>
                  <a:pt x="332587" y="0"/>
                </a:lnTo>
                <a:lnTo>
                  <a:pt x="332587" y="73660"/>
                </a:lnTo>
                <a:lnTo>
                  <a:pt x="249478" y="73660"/>
                </a:lnTo>
                <a:lnTo>
                  <a:pt x="249478" y="0"/>
                </a:lnTo>
                <a:lnTo>
                  <a:pt x="220002" y="0"/>
                </a:lnTo>
                <a:lnTo>
                  <a:pt x="220002" y="73660"/>
                </a:lnTo>
                <a:lnTo>
                  <a:pt x="220002" y="99060"/>
                </a:lnTo>
                <a:lnTo>
                  <a:pt x="220002" y="180340"/>
                </a:lnTo>
                <a:lnTo>
                  <a:pt x="249478" y="180340"/>
                </a:lnTo>
                <a:lnTo>
                  <a:pt x="249478" y="99060"/>
                </a:lnTo>
                <a:lnTo>
                  <a:pt x="332587" y="99060"/>
                </a:lnTo>
                <a:lnTo>
                  <a:pt x="332587" y="180340"/>
                </a:lnTo>
                <a:lnTo>
                  <a:pt x="362191" y="180340"/>
                </a:lnTo>
                <a:lnTo>
                  <a:pt x="362191" y="99060"/>
                </a:lnTo>
                <a:lnTo>
                  <a:pt x="362191" y="73660"/>
                </a:lnTo>
                <a:lnTo>
                  <a:pt x="362191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5" name="bg object 25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8717022" y="11299886"/>
            <a:ext cx="168947" cy="185596"/>
          </a:xfrm>
          <a:prstGeom prst="rect">
            <a:avLst/>
          </a:prstGeom>
        </p:spPr>
      </p:pic>
      <p:pic>
        <p:nvPicPr>
          <p:cNvPr id="26" name="bg object 2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8923085" y="11302724"/>
            <a:ext cx="142927" cy="182758"/>
          </a:xfrm>
          <a:prstGeom prst="rect">
            <a:avLst/>
          </a:prstGeom>
        </p:spPr>
      </p:pic>
      <p:sp>
        <p:nvSpPr>
          <p:cNvPr id="27" name="bg object 27"/>
          <p:cNvSpPr/>
          <p:nvPr/>
        </p:nvSpPr>
        <p:spPr>
          <a:xfrm>
            <a:off x="19091898" y="11302681"/>
            <a:ext cx="135890" cy="180340"/>
          </a:xfrm>
          <a:custGeom>
            <a:avLst/>
            <a:gdLst/>
            <a:ahLst/>
            <a:cxnLst/>
            <a:rect l="l" t="t" r="r" b="b"/>
            <a:pathLst>
              <a:path w="135890" h="180340">
                <a:moveTo>
                  <a:pt x="135534" y="0"/>
                </a:moveTo>
                <a:lnTo>
                  <a:pt x="0" y="0"/>
                </a:lnTo>
                <a:lnTo>
                  <a:pt x="0" y="25400"/>
                </a:lnTo>
                <a:lnTo>
                  <a:pt x="53022" y="25400"/>
                </a:lnTo>
                <a:lnTo>
                  <a:pt x="53022" y="180340"/>
                </a:lnTo>
                <a:lnTo>
                  <a:pt x="82499" y="180340"/>
                </a:lnTo>
                <a:lnTo>
                  <a:pt x="82499" y="25400"/>
                </a:lnTo>
                <a:lnTo>
                  <a:pt x="135534" y="25400"/>
                </a:lnTo>
                <a:lnTo>
                  <a:pt x="1355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bg object 28"/>
          <p:cNvSpPr/>
          <p:nvPr/>
        </p:nvSpPr>
        <p:spPr>
          <a:xfrm>
            <a:off x="18065725" y="11566511"/>
            <a:ext cx="142875" cy="180975"/>
          </a:xfrm>
          <a:custGeom>
            <a:avLst/>
            <a:gdLst/>
            <a:ahLst/>
            <a:cxnLst/>
            <a:rect l="l" t="t" r="r" b="b"/>
            <a:pathLst>
              <a:path w="142875" h="180975">
                <a:moveTo>
                  <a:pt x="98767" y="169303"/>
                </a:moveTo>
                <a:lnTo>
                  <a:pt x="12598" y="169303"/>
                </a:lnTo>
                <a:lnTo>
                  <a:pt x="12598" y="393"/>
                </a:lnTo>
                <a:lnTo>
                  <a:pt x="0" y="393"/>
                </a:lnTo>
                <a:lnTo>
                  <a:pt x="0" y="169303"/>
                </a:lnTo>
                <a:lnTo>
                  <a:pt x="0" y="180733"/>
                </a:lnTo>
                <a:lnTo>
                  <a:pt x="98767" y="180733"/>
                </a:lnTo>
                <a:lnTo>
                  <a:pt x="98767" y="169303"/>
                </a:lnTo>
                <a:close/>
              </a:path>
              <a:path w="142875" h="180975">
                <a:moveTo>
                  <a:pt x="142532" y="0"/>
                </a:moveTo>
                <a:lnTo>
                  <a:pt x="129921" y="0"/>
                </a:lnTo>
                <a:lnTo>
                  <a:pt x="129921" y="180733"/>
                </a:lnTo>
                <a:lnTo>
                  <a:pt x="142532" y="180733"/>
                </a:lnTo>
                <a:lnTo>
                  <a:pt x="142532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bg object 29"/>
          <p:cNvSpPr/>
          <p:nvPr/>
        </p:nvSpPr>
        <p:spPr>
          <a:xfrm>
            <a:off x="18235080" y="11566511"/>
            <a:ext cx="170180" cy="180975"/>
          </a:xfrm>
          <a:custGeom>
            <a:avLst/>
            <a:gdLst/>
            <a:ahLst/>
            <a:cxnLst/>
            <a:rect l="l" t="t" r="r" b="b"/>
            <a:pathLst>
              <a:path w="170180" h="180975">
                <a:moveTo>
                  <a:pt x="130175" y="393"/>
                </a:moveTo>
                <a:lnTo>
                  <a:pt x="0" y="393"/>
                </a:lnTo>
                <a:lnTo>
                  <a:pt x="0" y="11823"/>
                </a:lnTo>
                <a:lnTo>
                  <a:pt x="58724" y="11823"/>
                </a:lnTo>
                <a:lnTo>
                  <a:pt x="58724" y="180733"/>
                </a:lnTo>
                <a:lnTo>
                  <a:pt x="71450" y="180733"/>
                </a:lnTo>
                <a:lnTo>
                  <a:pt x="71450" y="11823"/>
                </a:lnTo>
                <a:lnTo>
                  <a:pt x="130175" y="11823"/>
                </a:lnTo>
                <a:lnTo>
                  <a:pt x="130175" y="393"/>
                </a:lnTo>
                <a:close/>
              </a:path>
              <a:path w="170180" h="180975">
                <a:moveTo>
                  <a:pt x="169608" y="0"/>
                </a:moveTo>
                <a:lnTo>
                  <a:pt x="156997" y="0"/>
                </a:lnTo>
                <a:lnTo>
                  <a:pt x="156997" y="180733"/>
                </a:lnTo>
                <a:lnTo>
                  <a:pt x="169608" y="180733"/>
                </a:lnTo>
                <a:lnTo>
                  <a:pt x="169608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0" name="bg object 30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8446220" y="11563659"/>
            <a:ext cx="147367" cy="186046"/>
          </a:xfrm>
          <a:prstGeom prst="rect">
            <a:avLst/>
          </a:prstGeom>
        </p:spPr>
      </p:pic>
      <p:pic>
        <p:nvPicPr>
          <p:cNvPr id="31" name="bg object 31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18613357" y="11565767"/>
            <a:ext cx="283342" cy="181470"/>
          </a:xfrm>
          <a:prstGeom prst="rect">
            <a:avLst/>
          </a:prstGeom>
        </p:spPr>
      </p:pic>
      <p:sp>
        <p:nvSpPr>
          <p:cNvPr id="32" name="bg object 32"/>
          <p:cNvSpPr/>
          <p:nvPr/>
        </p:nvSpPr>
        <p:spPr>
          <a:xfrm>
            <a:off x="18923528" y="11566506"/>
            <a:ext cx="12700" cy="180975"/>
          </a:xfrm>
          <a:custGeom>
            <a:avLst/>
            <a:gdLst/>
            <a:ahLst/>
            <a:cxnLst/>
            <a:rect l="l" t="t" r="r" b="b"/>
            <a:pathLst>
              <a:path w="12700" h="180975">
                <a:moveTo>
                  <a:pt x="12606" y="0"/>
                </a:moveTo>
                <a:lnTo>
                  <a:pt x="0" y="0"/>
                </a:lnTo>
                <a:lnTo>
                  <a:pt x="0" y="180727"/>
                </a:lnTo>
                <a:lnTo>
                  <a:pt x="12606" y="180727"/>
                </a:lnTo>
                <a:lnTo>
                  <a:pt x="12606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3" name="bg object 33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18977667" y="11563661"/>
            <a:ext cx="161576" cy="186046"/>
          </a:xfrm>
          <a:prstGeom prst="rect">
            <a:avLst/>
          </a:prstGeom>
        </p:spPr>
      </p:pic>
      <p:pic>
        <p:nvPicPr>
          <p:cNvPr id="34" name="bg object 34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19180778" y="11566509"/>
            <a:ext cx="131409" cy="180727"/>
          </a:xfrm>
          <a:prstGeom prst="rect">
            <a:avLst/>
          </a:prstGeom>
        </p:spPr>
      </p:pic>
      <p:sp>
        <p:nvSpPr>
          <p:cNvPr id="35" name="bg object 35"/>
          <p:cNvSpPr/>
          <p:nvPr/>
        </p:nvSpPr>
        <p:spPr>
          <a:xfrm>
            <a:off x="17305002" y="11018376"/>
            <a:ext cx="513715" cy="76200"/>
          </a:xfrm>
          <a:custGeom>
            <a:avLst/>
            <a:gdLst/>
            <a:ahLst/>
            <a:cxnLst/>
            <a:rect l="l" t="t" r="r" b="b"/>
            <a:pathLst>
              <a:path w="513715" h="76200">
                <a:moveTo>
                  <a:pt x="513418" y="0"/>
                </a:moveTo>
                <a:lnTo>
                  <a:pt x="0" y="0"/>
                </a:lnTo>
                <a:lnTo>
                  <a:pt x="0" y="76050"/>
                </a:lnTo>
                <a:lnTo>
                  <a:pt x="513418" y="76050"/>
                </a:lnTo>
                <a:lnTo>
                  <a:pt x="513418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bg object 36"/>
          <p:cNvSpPr/>
          <p:nvPr/>
        </p:nvSpPr>
        <p:spPr>
          <a:xfrm>
            <a:off x="497344" y="0"/>
            <a:ext cx="630555" cy="4417695"/>
          </a:xfrm>
          <a:custGeom>
            <a:avLst/>
            <a:gdLst/>
            <a:ahLst/>
            <a:cxnLst/>
            <a:rect l="l" t="t" r="r" b="b"/>
            <a:pathLst>
              <a:path w="630555" h="4417695">
                <a:moveTo>
                  <a:pt x="630242" y="4083639"/>
                </a:moveTo>
                <a:lnTo>
                  <a:pt x="630242" y="4073744"/>
                </a:lnTo>
                <a:lnTo>
                  <a:pt x="630106" y="4073859"/>
                </a:lnTo>
                <a:lnTo>
                  <a:pt x="629855" y="4074090"/>
                </a:lnTo>
                <a:lnTo>
                  <a:pt x="629855" y="0"/>
                </a:lnTo>
              </a:path>
              <a:path w="630555" h="4417695">
                <a:moveTo>
                  <a:pt x="2434" y="0"/>
                </a:moveTo>
                <a:lnTo>
                  <a:pt x="0" y="2699357"/>
                </a:lnTo>
                <a:lnTo>
                  <a:pt x="0" y="4417388"/>
                </a:lnTo>
                <a:lnTo>
                  <a:pt x="49735" y="4401593"/>
                </a:lnTo>
                <a:lnTo>
                  <a:pt x="98845" y="4384492"/>
                </a:lnTo>
                <a:lnTo>
                  <a:pt x="147304" y="4366102"/>
                </a:lnTo>
                <a:lnTo>
                  <a:pt x="195086" y="4346440"/>
                </a:lnTo>
                <a:lnTo>
                  <a:pt x="242168" y="4325523"/>
                </a:lnTo>
                <a:lnTo>
                  <a:pt x="288524" y="4303369"/>
                </a:lnTo>
                <a:lnTo>
                  <a:pt x="334129" y="4279994"/>
                </a:lnTo>
                <a:lnTo>
                  <a:pt x="378959" y="4255416"/>
                </a:lnTo>
                <a:lnTo>
                  <a:pt x="422987" y="4229652"/>
                </a:lnTo>
                <a:lnTo>
                  <a:pt x="466190" y="4202719"/>
                </a:lnTo>
                <a:lnTo>
                  <a:pt x="508541" y="4174634"/>
                </a:lnTo>
                <a:lnTo>
                  <a:pt x="550017" y="4145414"/>
                </a:lnTo>
                <a:lnTo>
                  <a:pt x="590593" y="4115077"/>
                </a:lnTo>
                <a:lnTo>
                  <a:pt x="630242" y="4083639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bg object 37"/>
          <p:cNvSpPr/>
          <p:nvPr/>
        </p:nvSpPr>
        <p:spPr>
          <a:xfrm>
            <a:off x="15802178" y="448750"/>
            <a:ext cx="4302125" cy="677545"/>
          </a:xfrm>
          <a:custGeom>
            <a:avLst/>
            <a:gdLst/>
            <a:ahLst/>
            <a:cxnLst/>
            <a:rect l="l" t="t" r="r" b="b"/>
            <a:pathLst>
              <a:path w="4302125" h="677544">
                <a:moveTo>
                  <a:pt x="4301921" y="0"/>
                </a:moveTo>
                <a:lnTo>
                  <a:pt x="0" y="0"/>
                </a:lnTo>
                <a:lnTo>
                  <a:pt x="0" y="677036"/>
                </a:lnTo>
                <a:lnTo>
                  <a:pt x="4301921" y="67703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bg object 38"/>
          <p:cNvSpPr/>
          <p:nvPr/>
        </p:nvSpPr>
        <p:spPr>
          <a:xfrm>
            <a:off x="15884111" y="10541781"/>
            <a:ext cx="4220210" cy="2306320"/>
          </a:xfrm>
          <a:custGeom>
            <a:avLst/>
            <a:gdLst/>
            <a:ahLst/>
            <a:cxnLst/>
            <a:rect l="l" t="t" r="r" b="b"/>
            <a:pathLst>
              <a:path w="4220209" h="2306320">
                <a:moveTo>
                  <a:pt x="4219988" y="815958"/>
                </a:moveTo>
                <a:lnTo>
                  <a:pt x="4191904" y="882755"/>
                </a:lnTo>
                <a:lnTo>
                  <a:pt x="4172368" y="925143"/>
                </a:lnTo>
                <a:lnTo>
                  <a:pt x="4151819" y="966953"/>
                </a:lnTo>
                <a:lnTo>
                  <a:pt x="4130274" y="1008168"/>
                </a:lnTo>
                <a:lnTo>
                  <a:pt x="4107749" y="1048774"/>
                </a:lnTo>
                <a:lnTo>
                  <a:pt x="4084260" y="1088754"/>
                </a:lnTo>
                <a:lnTo>
                  <a:pt x="4059821" y="1128093"/>
                </a:lnTo>
                <a:lnTo>
                  <a:pt x="4034449" y="1166773"/>
                </a:lnTo>
                <a:lnTo>
                  <a:pt x="4008160" y="1204781"/>
                </a:lnTo>
                <a:lnTo>
                  <a:pt x="3980969" y="1242098"/>
                </a:lnTo>
                <a:lnTo>
                  <a:pt x="3952893" y="1278711"/>
                </a:lnTo>
                <a:lnTo>
                  <a:pt x="3923946" y="1314603"/>
                </a:lnTo>
                <a:lnTo>
                  <a:pt x="3894144" y="1349757"/>
                </a:lnTo>
                <a:lnTo>
                  <a:pt x="3863505" y="1384159"/>
                </a:lnTo>
                <a:lnTo>
                  <a:pt x="3832042" y="1417791"/>
                </a:lnTo>
                <a:lnTo>
                  <a:pt x="3799772" y="1450639"/>
                </a:lnTo>
                <a:lnTo>
                  <a:pt x="3766711" y="1482687"/>
                </a:lnTo>
                <a:lnTo>
                  <a:pt x="3732874" y="1513918"/>
                </a:lnTo>
                <a:lnTo>
                  <a:pt x="3698277" y="1544317"/>
                </a:lnTo>
                <a:lnTo>
                  <a:pt x="3662937" y="1573867"/>
                </a:lnTo>
                <a:lnTo>
                  <a:pt x="3626868" y="1602554"/>
                </a:lnTo>
                <a:lnTo>
                  <a:pt x="3590086" y="1630360"/>
                </a:lnTo>
                <a:lnTo>
                  <a:pt x="3552607" y="1657271"/>
                </a:lnTo>
                <a:lnTo>
                  <a:pt x="3514448" y="1683270"/>
                </a:lnTo>
                <a:lnTo>
                  <a:pt x="3475623" y="1708341"/>
                </a:lnTo>
                <a:lnTo>
                  <a:pt x="3436148" y="1732468"/>
                </a:lnTo>
                <a:lnTo>
                  <a:pt x="3396040" y="1755637"/>
                </a:lnTo>
                <a:lnTo>
                  <a:pt x="3355314" y="1777830"/>
                </a:lnTo>
                <a:lnTo>
                  <a:pt x="3313985" y="1799031"/>
                </a:lnTo>
                <a:lnTo>
                  <a:pt x="3272070" y="1819226"/>
                </a:lnTo>
                <a:lnTo>
                  <a:pt x="3229584" y="1838398"/>
                </a:lnTo>
                <a:lnTo>
                  <a:pt x="3186543" y="1856530"/>
                </a:lnTo>
                <a:lnTo>
                  <a:pt x="3142962" y="1873609"/>
                </a:lnTo>
                <a:lnTo>
                  <a:pt x="3098858" y="1889616"/>
                </a:lnTo>
                <a:lnTo>
                  <a:pt x="3054247" y="1904537"/>
                </a:lnTo>
                <a:lnTo>
                  <a:pt x="3009143" y="1918356"/>
                </a:lnTo>
                <a:lnTo>
                  <a:pt x="2963563" y="1931056"/>
                </a:lnTo>
                <a:lnTo>
                  <a:pt x="2917522" y="1942622"/>
                </a:lnTo>
                <a:lnTo>
                  <a:pt x="2871037" y="1953038"/>
                </a:lnTo>
                <a:lnTo>
                  <a:pt x="2824123" y="1962288"/>
                </a:lnTo>
                <a:lnTo>
                  <a:pt x="2776795" y="1970357"/>
                </a:lnTo>
                <a:lnTo>
                  <a:pt x="2729070" y="1977227"/>
                </a:lnTo>
                <a:lnTo>
                  <a:pt x="2680963" y="1982885"/>
                </a:lnTo>
                <a:lnTo>
                  <a:pt x="2632491" y="1987312"/>
                </a:lnTo>
                <a:lnTo>
                  <a:pt x="2583668" y="1990494"/>
                </a:lnTo>
                <a:lnTo>
                  <a:pt x="2534510" y="1992415"/>
                </a:lnTo>
                <a:lnTo>
                  <a:pt x="2485034" y="1993059"/>
                </a:lnTo>
                <a:lnTo>
                  <a:pt x="2436764" y="1992447"/>
                </a:lnTo>
                <a:lnTo>
                  <a:pt x="2388796" y="1990619"/>
                </a:lnTo>
                <a:lnTo>
                  <a:pt x="2341143" y="1987591"/>
                </a:lnTo>
                <a:lnTo>
                  <a:pt x="2293821" y="1983377"/>
                </a:lnTo>
                <a:lnTo>
                  <a:pt x="2246844" y="1977992"/>
                </a:lnTo>
                <a:lnTo>
                  <a:pt x="2200227" y="1971450"/>
                </a:lnTo>
                <a:lnTo>
                  <a:pt x="2153985" y="1963767"/>
                </a:lnTo>
                <a:lnTo>
                  <a:pt x="2108132" y="1954958"/>
                </a:lnTo>
                <a:lnTo>
                  <a:pt x="2062683" y="1945036"/>
                </a:lnTo>
                <a:lnTo>
                  <a:pt x="2017652" y="1934016"/>
                </a:lnTo>
                <a:lnTo>
                  <a:pt x="1973055" y="1921914"/>
                </a:lnTo>
                <a:lnTo>
                  <a:pt x="1928906" y="1908745"/>
                </a:lnTo>
                <a:lnTo>
                  <a:pt x="1885220" y="1894521"/>
                </a:lnTo>
                <a:lnTo>
                  <a:pt x="1842011" y="1879260"/>
                </a:lnTo>
                <a:lnTo>
                  <a:pt x="1799294" y="1862975"/>
                </a:lnTo>
                <a:lnTo>
                  <a:pt x="1757084" y="1845680"/>
                </a:lnTo>
                <a:lnTo>
                  <a:pt x="1715395" y="1827392"/>
                </a:lnTo>
                <a:lnTo>
                  <a:pt x="1674242" y="1808123"/>
                </a:lnTo>
                <a:lnTo>
                  <a:pt x="1633641" y="1787890"/>
                </a:lnTo>
                <a:lnTo>
                  <a:pt x="1593605" y="1766707"/>
                </a:lnTo>
                <a:lnTo>
                  <a:pt x="1554149" y="1744589"/>
                </a:lnTo>
                <a:lnTo>
                  <a:pt x="1515288" y="1721550"/>
                </a:lnTo>
                <a:lnTo>
                  <a:pt x="1477037" y="1697605"/>
                </a:lnTo>
                <a:lnTo>
                  <a:pt x="1439410" y="1672769"/>
                </a:lnTo>
                <a:lnTo>
                  <a:pt x="1402422" y="1647056"/>
                </a:lnTo>
                <a:lnTo>
                  <a:pt x="1366087" y="1620482"/>
                </a:lnTo>
                <a:lnTo>
                  <a:pt x="1330421" y="1593060"/>
                </a:lnTo>
                <a:lnTo>
                  <a:pt x="1295438" y="1564807"/>
                </a:lnTo>
                <a:lnTo>
                  <a:pt x="1261153" y="1535736"/>
                </a:lnTo>
                <a:lnTo>
                  <a:pt x="1227580" y="1505862"/>
                </a:lnTo>
                <a:lnTo>
                  <a:pt x="1194734" y="1475200"/>
                </a:lnTo>
                <a:lnTo>
                  <a:pt x="1162630" y="1443764"/>
                </a:lnTo>
                <a:lnTo>
                  <a:pt x="1131283" y="1411570"/>
                </a:lnTo>
                <a:lnTo>
                  <a:pt x="1100707" y="1378633"/>
                </a:lnTo>
                <a:lnTo>
                  <a:pt x="1070916" y="1344966"/>
                </a:lnTo>
                <a:lnTo>
                  <a:pt x="1041926" y="1310584"/>
                </a:lnTo>
                <a:lnTo>
                  <a:pt x="1013752" y="1275503"/>
                </a:lnTo>
                <a:lnTo>
                  <a:pt x="986407" y="1239737"/>
                </a:lnTo>
                <a:lnTo>
                  <a:pt x="959907" y="1203301"/>
                </a:lnTo>
                <a:lnTo>
                  <a:pt x="934266" y="1166209"/>
                </a:lnTo>
                <a:lnTo>
                  <a:pt x="909500" y="1128476"/>
                </a:lnTo>
                <a:lnTo>
                  <a:pt x="885621" y="1090118"/>
                </a:lnTo>
                <a:lnTo>
                  <a:pt x="862647" y="1051148"/>
                </a:lnTo>
                <a:lnTo>
                  <a:pt x="840590" y="1011581"/>
                </a:lnTo>
                <a:lnTo>
                  <a:pt x="819466" y="971433"/>
                </a:lnTo>
                <a:lnTo>
                  <a:pt x="799290" y="930717"/>
                </a:lnTo>
                <a:lnTo>
                  <a:pt x="780076" y="889449"/>
                </a:lnTo>
                <a:lnTo>
                  <a:pt x="761838" y="847644"/>
                </a:lnTo>
                <a:lnTo>
                  <a:pt x="744592" y="805315"/>
                </a:lnTo>
                <a:lnTo>
                  <a:pt x="728352" y="762479"/>
                </a:lnTo>
                <a:lnTo>
                  <a:pt x="713133" y="719148"/>
                </a:lnTo>
                <a:lnTo>
                  <a:pt x="698950" y="675339"/>
                </a:lnTo>
                <a:lnTo>
                  <a:pt x="685817" y="631066"/>
                </a:lnTo>
                <a:lnTo>
                  <a:pt x="673749" y="586344"/>
                </a:lnTo>
                <a:lnTo>
                  <a:pt x="662760" y="541187"/>
                </a:lnTo>
                <a:lnTo>
                  <a:pt x="652866" y="495610"/>
                </a:lnTo>
                <a:lnTo>
                  <a:pt x="644081" y="449629"/>
                </a:lnTo>
                <a:lnTo>
                  <a:pt x="636419" y="403256"/>
                </a:lnTo>
                <a:lnTo>
                  <a:pt x="629896" y="356509"/>
                </a:lnTo>
                <a:lnTo>
                  <a:pt x="624526" y="309400"/>
                </a:lnTo>
                <a:lnTo>
                  <a:pt x="620324" y="261945"/>
                </a:lnTo>
                <a:lnTo>
                  <a:pt x="617304" y="214159"/>
                </a:lnTo>
                <a:lnTo>
                  <a:pt x="615482" y="166055"/>
                </a:lnTo>
                <a:lnTo>
                  <a:pt x="614871" y="117650"/>
                </a:lnTo>
                <a:lnTo>
                  <a:pt x="615459" y="88007"/>
                </a:lnTo>
                <a:lnTo>
                  <a:pt x="616934" y="58593"/>
                </a:lnTo>
                <a:lnTo>
                  <a:pt x="618864" y="29295"/>
                </a:lnTo>
                <a:lnTo>
                  <a:pt x="620818" y="0"/>
                </a:lnTo>
                <a:lnTo>
                  <a:pt x="0" y="0"/>
                </a:lnTo>
                <a:lnTo>
                  <a:pt x="0" y="112425"/>
                </a:lnTo>
                <a:lnTo>
                  <a:pt x="462" y="160786"/>
                </a:lnTo>
                <a:lnTo>
                  <a:pt x="1844" y="208927"/>
                </a:lnTo>
                <a:lnTo>
                  <a:pt x="4137" y="256837"/>
                </a:lnTo>
                <a:lnTo>
                  <a:pt x="7333" y="304511"/>
                </a:lnTo>
                <a:lnTo>
                  <a:pt x="11422" y="351938"/>
                </a:lnTo>
                <a:lnTo>
                  <a:pt x="16398" y="399110"/>
                </a:lnTo>
                <a:lnTo>
                  <a:pt x="22251" y="446020"/>
                </a:lnTo>
                <a:lnTo>
                  <a:pt x="28973" y="492658"/>
                </a:lnTo>
                <a:lnTo>
                  <a:pt x="36555" y="539017"/>
                </a:lnTo>
                <a:lnTo>
                  <a:pt x="44990" y="585087"/>
                </a:lnTo>
                <a:lnTo>
                  <a:pt x="54268" y="630861"/>
                </a:lnTo>
                <a:lnTo>
                  <a:pt x="64382" y="676330"/>
                </a:lnTo>
                <a:lnTo>
                  <a:pt x="75322" y="721485"/>
                </a:lnTo>
                <a:lnTo>
                  <a:pt x="87081" y="766318"/>
                </a:lnTo>
                <a:lnTo>
                  <a:pt x="99650" y="810822"/>
                </a:lnTo>
                <a:lnTo>
                  <a:pt x="113021" y="854986"/>
                </a:lnTo>
                <a:lnTo>
                  <a:pt x="127185" y="898803"/>
                </a:lnTo>
                <a:lnTo>
                  <a:pt x="142133" y="942265"/>
                </a:lnTo>
                <a:lnTo>
                  <a:pt x="157858" y="985363"/>
                </a:lnTo>
                <a:lnTo>
                  <a:pt x="174351" y="1028088"/>
                </a:lnTo>
                <a:lnTo>
                  <a:pt x="191604" y="1070433"/>
                </a:lnTo>
                <a:lnTo>
                  <a:pt x="209607" y="1112388"/>
                </a:lnTo>
                <a:lnTo>
                  <a:pt x="228354" y="1153946"/>
                </a:lnTo>
                <a:lnTo>
                  <a:pt x="247835" y="1195098"/>
                </a:lnTo>
                <a:lnTo>
                  <a:pt x="268041" y="1235835"/>
                </a:lnTo>
                <a:lnTo>
                  <a:pt x="288965" y="1276149"/>
                </a:lnTo>
                <a:lnTo>
                  <a:pt x="310599" y="1316032"/>
                </a:lnTo>
                <a:lnTo>
                  <a:pt x="332932" y="1355475"/>
                </a:lnTo>
                <a:lnTo>
                  <a:pt x="355959" y="1394471"/>
                </a:lnTo>
                <a:lnTo>
                  <a:pt x="379668" y="1433009"/>
                </a:lnTo>
                <a:lnTo>
                  <a:pt x="404054" y="1471083"/>
                </a:lnTo>
                <a:lnTo>
                  <a:pt x="429106" y="1508683"/>
                </a:lnTo>
                <a:lnTo>
                  <a:pt x="454817" y="1545801"/>
                </a:lnTo>
                <a:lnTo>
                  <a:pt x="481178" y="1582429"/>
                </a:lnTo>
                <a:lnTo>
                  <a:pt x="508181" y="1618559"/>
                </a:lnTo>
                <a:lnTo>
                  <a:pt x="535817" y="1654181"/>
                </a:lnTo>
                <a:lnTo>
                  <a:pt x="564078" y="1689288"/>
                </a:lnTo>
                <a:lnTo>
                  <a:pt x="592956" y="1723871"/>
                </a:lnTo>
                <a:lnTo>
                  <a:pt x="622441" y="1757922"/>
                </a:lnTo>
                <a:lnTo>
                  <a:pt x="652527" y="1791432"/>
                </a:lnTo>
                <a:lnTo>
                  <a:pt x="683203" y="1824392"/>
                </a:lnTo>
                <a:lnTo>
                  <a:pt x="714463" y="1856796"/>
                </a:lnTo>
                <a:lnTo>
                  <a:pt x="746297" y="1888633"/>
                </a:lnTo>
                <a:lnTo>
                  <a:pt x="778697" y="1919895"/>
                </a:lnTo>
                <a:lnTo>
                  <a:pt x="811654" y="1950575"/>
                </a:lnTo>
                <a:lnTo>
                  <a:pt x="845161" y="1980664"/>
                </a:lnTo>
                <a:lnTo>
                  <a:pt x="879208" y="2010153"/>
                </a:lnTo>
                <a:lnTo>
                  <a:pt x="913788" y="2039033"/>
                </a:lnTo>
                <a:lnTo>
                  <a:pt x="948892" y="2067298"/>
                </a:lnTo>
                <a:lnTo>
                  <a:pt x="984511" y="2094937"/>
                </a:lnTo>
                <a:lnTo>
                  <a:pt x="1020637" y="2121943"/>
                </a:lnTo>
                <a:lnTo>
                  <a:pt x="1057262" y="2148307"/>
                </a:lnTo>
                <a:lnTo>
                  <a:pt x="1094378" y="2174021"/>
                </a:lnTo>
                <a:lnTo>
                  <a:pt x="1131975" y="2199077"/>
                </a:lnTo>
                <a:lnTo>
                  <a:pt x="1170046" y="2223465"/>
                </a:lnTo>
                <a:lnTo>
                  <a:pt x="1208582" y="2247178"/>
                </a:lnTo>
                <a:lnTo>
                  <a:pt x="1247574" y="2270207"/>
                </a:lnTo>
                <a:lnTo>
                  <a:pt x="1287014" y="2292544"/>
                </a:lnTo>
                <a:lnTo>
                  <a:pt x="1311807" y="2305994"/>
                </a:lnTo>
              </a:path>
              <a:path w="4220209" h="2306320">
                <a:moveTo>
                  <a:pt x="3669507" y="2305994"/>
                </a:moveTo>
                <a:lnTo>
                  <a:pt x="3733746" y="2270207"/>
                </a:lnTo>
                <a:lnTo>
                  <a:pt x="3772742" y="2247178"/>
                </a:lnTo>
                <a:lnTo>
                  <a:pt x="3811281" y="2223465"/>
                </a:lnTo>
                <a:lnTo>
                  <a:pt x="3849355" y="2199077"/>
                </a:lnTo>
                <a:lnTo>
                  <a:pt x="3886955" y="2174021"/>
                </a:lnTo>
                <a:lnTo>
                  <a:pt x="3924074" y="2148307"/>
                </a:lnTo>
                <a:lnTo>
                  <a:pt x="3960702" y="2121943"/>
                </a:lnTo>
                <a:lnTo>
                  <a:pt x="3996831" y="2094937"/>
                </a:lnTo>
                <a:lnTo>
                  <a:pt x="4032453" y="2067298"/>
                </a:lnTo>
                <a:lnTo>
                  <a:pt x="4067559" y="2039033"/>
                </a:lnTo>
                <a:lnTo>
                  <a:pt x="4102141" y="2010153"/>
                </a:lnTo>
                <a:lnTo>
                  <a:pt x="4136191" y="1980664"/>
                </a:lnTo>
                <a:lnTo>
                  <a:pt x="4169700" y="1950575"/>
                </a:lnTo>
                <a:lnTo>
                  <a:pt x="4202660" y="1919895"/>
                </a:lnTo>
                <a:lnTo>
                  <a:pt x="4219988" y="190317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250" b="0" i="0">
                <a:solidFill>
                  <a:srgbClr val="7A7C8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8250" b="0" i="0">
                <a:solidFill>
                  <a:srgbClr val="7A7C8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7888974" y="11937469"/>
            <a:ext cx="1047254" cy="223138"/>
          </a:xfrm>
          <a:prstGeom prst="rect">
            <a:avLst/>
          </a:prstGeom>
        </p:spPr>
        <p:txBody>
          <a:bodyPr lIns="0" tIns="0" rIns="0" bIns="0"/>
          <a:lstStyle>
            <a:lvl1pPr>
              <a:defRPr sz="1450" b="0" i="0">
                <a:solidFill>
                  <a:srgbClr val="A78A4C"/>
                </a:solidFill>
                <a:latin typeface="HelveticaNeue-Light"/>
                <a:cs typeface="HelveticaNeue-Light"/>
              </a:defRPr>
            </a:lvl1pPr>
          </a:lstStyle>
          <a:p>
            <a:pPr marL="38100">
              <a:lnSpc>
                <a:spcPct val="100000"/>
              </a:lnSpc>
              <a:spcBef>
                <a:spcPts val="85"/>
              </a:spcBef>
            </a:pPr>
            <a:fld id="{81D60167-4931-47E6-BA6A-407CBD079E47}" type="slidenum">
              <a:rPr spc="15"/>
              <a:t>‹#›</a:t>
            </a:fld>
            <a:endParaRPr spc="15" dirty="0"/>
          </a:p>
        </p:txBody>
      </p:sp>
      <p:sp>
        <p:nvSpPr>
          <p:cNvPr id="7" name="Holder 4">
            <a:extLst>
              <a:ext uri="{FF2B5EF4-FFF2-40B4-BE49-F238E27FC236}">
                <a16:creationId xmlns:a16="http://schemas.microsoft.com/office/drawing/2014/main" id="{9F71D047-DC7F-B56A-486E-A6DF6AC632F3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6835394" y="11952732"/>
            <a:ext cx="643331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JUSTICE WITHOUT LITIGATION II - ECONOMIC PART</a:t>
            </a:r>
            <a:endParaRPr lang="de-DE"/>
          </a:p>
        </p:txBody>
      </p:sp>
      <p:sp>
        <p:nvSpPr>
          <p:cNvPr id="8" name="Holder 5">
            <a:extLst>
              <a:ext uri="{FF2B5EF4-FFF2-40B4-BE49-F238E27FC236}">
                <a16:creationId xmlns:a16="http://schemas.microsoft.com/office/drawing/2014/main" id="{5E4109C4-C1D9-86C6-343F-9860CEAFDC5B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1611112" y="11906531"/>
            <a:ext cx="462394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12th March 2025 | Rom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63674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250" b="0" i="0">
                <a:solidFill>
                  <a:srgbClr val="7A7C8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005205" y="2956052"/>
            <a:ext cx="8745284" cy="84825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353611" y="2956052"/>
            <a:ext cx="8745284" cy="84825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8" name="Holder 4">
            <a:extLst>
              <a:ext uri="{FF2B5EF4-FFF2-40B4-BE49-F238E27FC236}">
                <a16:creationId xmlns:a16="http://schemas.microsoft.com/office/drawing/2014/main" id="{0399023F-721D-E9C7-A21D-4CF768FA8CD5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6835394" y="11952732"/>
            <a:ext cx="643331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JUSTICE WITHOUT LITIGATION II - ECONOMIC PART</a:t>
            </a:r>
            <a:endParaRPr lang="de-DE"/>
          </a:p>
        </p:txBody>
      </p:sp>
      <p:sp>
        <p:nvSpPr>
          <p:cNvPr id="9" name="Holder 5">
            <a:extLst>
              <a:ext uri="{FF2B5EF4-FFF2-40B4-BE49-F238E27FC236}">
                <a16:creationId xmlns:a16="http://schemas.microsoft.com/office/drawing/2014/main" id="{395EF5C3-58AC-701E-84C4-FE508102B37E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1611112" y="11906531"/>
            <a:ext cx="462394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12th March 2025 | Rome</a:t>
            </a:r>
            <a:endParaRPr lang="en-US"/>
          </a:p>
        </p:txBody>
      </p:sp>
      <p:sp>
        <p:nvSpPr>
          <p:cNvPr id="10" name="Holder 6">
            <a:extLst>
              <a:ext uri="{FF2B5EF4-FFF2-40B4-BE49-F238E27FC236}">
                <a16:creationId xmlns:a16="http://schemas.microsoft.com/office/drawing/2014/main" id="{5F19BBBA-1829-699B-EF68-291BBAC0B85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7888974" y="11937469"/>
            <a:ext cx="1047254" cy="223138"/>
          </a:xfrm>
          <a:prstGeom prst="rect">
            <a:avLst/>
          </a:prstGeom>
        </p:spPr>
        <p:txBody>
          <a:bodyPr lIns="0" tIns="0" rIns="0" bIns="0"/>
          <a:lstStyle>
            <a:lvl1pPr>
              <a:defRPr sz="1450" b="0" i="0">
                <a:solidFill>
                  <a:srgbClr val="A78A4C"/>
                </a:solidFill>
                <a:latin typeface="HelveticaNeue-Light"/>
                <a:cs typeface="HelveticaNeue-Light"/>
              </a:defRPr>
            </a:lvl1pPr>
          </a:lstStyle>
          <a:p>
            <a:pPr marL="38100">
              <a:lnSpc>
                <a:spcPct val="100000"/>
              </a:lnSpc>
              <a:spcBef>
                <a:spcPts val="85"/>
              </a:spcBef>
            </a:pPr>
            <a:fld id="{81D60167-4931-47E6-BA6A-407CBD079E47}" type="slidenum">
              <a:rPr spc="15"/>
              <a:t>‹#›</a:t>
            </a:fld>
            <a:endParaRPr spc="15" dirty="0"/>
          </a:p>
        </p:txBody>
      </p:sp>
    </p:spTree>
    <p:extLst>
      <p:ext uri="{BB962C8B-B14F-4D97-AF65-F5344CB8AC3E}">
        <p14:creationId xmlns:p14="http://schemas.microsoft.com/office/powerpoint/2010/main" val="23189986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250" b="0" i="0">
                <a:solidFill>
                  <a:srgbClr val="7A7C8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6" name="Holder 4">
            <a:extLst>
              <a:ext uri="{FF2B5EF4-FFF2-40B4-BE49-F238E27FC236}">
                <a16:creationId xmlns:a16="http://schemas.microsoft.com/office/drawing/2014/main" id="{16260779-3E36-BD5D-4439-8372C920E965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6835394" y="11952732"/>
            <a:ext cx="643331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JUSTICE WITHOUT LITIGATION II - ECONOMIC PART</a:t>
            </a:r>
            <a:endParaRPr lang="de-DE"/>
          </a:p>
        </p:txBody>
      </p:sp>
      <p:sp>
        <p:nvSpPr>
          <p:cNvPr id="7" name="Holder 5">
            <a:extLst>
              <a:ext uri="{FF2B5EF4-FFF2-40B4-BE49-F238E27FC236}">
                <a16:creationId xmlns:a16="http://schemas.microsoft.com/office/drawing/2014/main" id="{4F38C89A-20C6-AC98-4E4E-D77EFE8380C8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1611112" y="11906531"/>
            <a:ext cx="462394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12th March 2025 | Rome</a:t>
            </a:r>
            <a:endParaRPr lang="en-US"/>
          </a:p>
        </p:txBody>
      </p:sp>
      <p:sp>
        <p:nvSpPr>
          <p:cNvPr id="8" name="Holder 6">
            <a:extLst>
              <a:ext uri="{FF2B5EF4-FFF2-40B4-BE49-F238E27FC236}">
                <a16:creationId xmlns:a16="http://schemas.microsoft.com/office/drawing/2014/main" id="{F4EA908D-1364-3807-EC28-ACDADB080C1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7888974" y="11937469"/>
            <a:ext cx="1047254" cy="223138"/>
          </a:xfrm>
          <a:prstGeom prst="rect">
            <a:avLst/>
          </a:prstGeom>
        </p:spPr>
        <p:txBody>
          <a:bodyPr lIns="0" tIns="0" rIns="0" bIns="0"/>
          <a:lstStyle>
            <a:lvl1pPr>
              <a:defRPr sz="1450" b="0" i="0">
                <a:solidFill>
                  <a:srgbClr val="A78A4C"/>
                </a:solidFill>
                <a:latin typeface="HelveticaNeue-Light"/>
                <a:cs typeface="HelveticaNeue-Light"/>
              </a:defRPr>
            </a:lvl1pPr>
          </a:lstStyle>
          <a:p>
            <a:pPr marL="38100">
              <a:lnSpc>
                <a:spcPct val="100000"/>
              </a:lnSpc>
              <a:spcBef>
                <a:spcPts val="85"/>
              </a:spcBef>
            </a:pPr>
            <a:fld id="{81D60167-4931-47E6-BA6A-407CBD079E47}" type="slidenum">
              <a:rPr spc="15"/>
              <a:t>‹#›</a:t>
            </a:fld>
            <a:endParaRPr spc="15" dirty="0"/>
          </a:p>
        </p:txBody>
      </p:sp>
    </p:spTree>
    <p:extLst>
      <p:ext uri="{BB962C8B-B14F-4D97-AF65-F5344CB8AC3E}">
        <p14:creationId xmlns:p14="http://schemas.microsoft.com/office/powerpoint/2010/main" val="21437650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DFF08B-2E1D-C37C-CD0D-3A5A24C34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D5A2B0-2CFB-48BE-8B81-DA095EEADC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92718C-69DE-1B9A-3C25-1A7A47103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bg object 16">
            <a:extLst>
              <a:ext uri="{FF2B5EF4-FFF2-40B4-BE49-F238E27FC236}">
                <a16:creationId xmlns:a16="http://schemas.microsoft.com/office/drawing/2014/main" id="{39CDA925-B8D8-8713-6A79-FE1CB92050F7}"/>
              </a:ext>
            </a:extLst>
          </p:cNvPr>
          <p:cNvSpPr/>
          <p:nvPr userDrawn="1"/>
        </p:nvSpPr>
        <p:spPr>
          <a:xfrm>
            <a:off x="17231199" y="11172070"/>
            <a:ext cx="587375" cy="579755"/>
          </a:xfrm>
          <a:custGeom>
            <a:avLst/>
            <a:gdLst/>
            <a:ahLst/>
            <a:cxnLst/>
            <a:rect l="l" t="t" r="r" b="b"/>
            <a:pathLst>
              <a:path w="587375" h="579754">
                <a:moveTo>
                  <a:pt x="587259" y="0"/>
                </a:moveTo>
                <a:lnTo>
                  <a:pt x="513460" y="0"/>
                </a:lnTo>
                <a:lnTo>
                  <a:pt x="513460" y="285687"/>
                </a:lnTo>
                <a:lnTo>
                  <a:pt x="507898" y="334898"/>
                </a:lnTo>
                <a:lnTo>
                  <a:pt x="492045" y="380220"/>
                </a:lnTo>
                <a:lnTo>
                  <a:pt x="467148" y="420422"/>
                </a:lnTo>
                <a:lnTo>
                  <a:pt x="434457" y="454279"/>
                </a:lnTo>
                <a:lnTo>
                  <a:pt x="434457" y="0"/>
                </a:lnTo>
                <a:lnTo>
                  <a:pt x="358407" y="0"/>
                </a:lnTo>
                <a:lnTo>
                  <a:pt x="358407" y="495754"/>
                </a:lnTo>
                <a:lnTo>
                  <a:pt x="342810" y="499947"/>
                </a:lnTo>
                <a:lnTo>
                  <a:pt x="326785" y="503005"/>
                </a:lnTo>
                <a:lnTo>
                  <a:pt x="310376" y="504877"/>
                </a:lnTo>
                <a:lnTo>
                  <a:pt x="293624" y="505513"/>
                </a:lnTo>
                <a:lnTo>
                  <a:pt x="249374" y="501039"/>
                </a:lnTo>
                <a:lnTo>
                  <a:pt x="208134" y="488212"/>
                </a:lnTo>
                <a:lnTo>
                  <a:pt x="170795" y="467921"/>
                </a:lnTo>
                <a:lnTo>
                  <a:pt x="138248" y="441058"/>
                </a:lnTo>
                <a:lnTo>
                  <a:pt x="111383" y="408513"/>
                </a:lnTo>
                <a:lnTo>
                  <a:pt x="91090" y="371175"/>
                </a:lnTo>
                <a:lnTo>
                  <a:pt x="78262" y="329937"/>
                </a:lnTo>
                <a:lnTo>
                  <a:pt x="73788" y="285687"/>
                </a:lnTo>
                <a:lnTo>
                  <a:pt x="73788" y="272431"/>
                </a:lnTo>
                <a:lnTo>
                  <a:pt x="0" y="272431"/>
                </a:lnTo>
                <a:lnTo>
                  <a:pt x="0" y="285687"/>
                </a:lnTo>
                <a:lnTo>
                  <a:pt x="3850" y="333251"/>
                </a:lnTo>
                <a:lnTo>
                  <a:pt x="14995" y="378394"/>
                </a:lnTo>
                <a:lnTo>
                  <a:pt x="32825" y="420508"/>
                </a:lnTo>
                <a:lnTo>
                  <a:pt x="56731" y="458984"/>
                </a:lnTo>
                <a:lnTo>
                  <a:pt x="86103" y="493212"/>
                </a:lnTo>
                <a:lnTo>
                  <a:pt x="120332" y="522583"/>
                </a:lnTo>
                <a:lnTo>
                  <a:pt x="158808" y="546488"/>
                </a:lnTo>
                <a:lnTo>
                  <a:pt x="200921" y="564317"/>
                </a:lnTo>
                <a:lnTo>
                  <a:pt x="246063" y="575462"/>
                </a:lnTo>
                <a:lnTo>
                  <a:pt x="293624" y="579312"/>
                </a:lnTo>
                <a:lnTo>
                  <a:pt x="341190" y="575462"/>
                </a:lnTo>
                <a:lnTo>
                  <a:pt x="386336" y="564317"/>
                </a:lnTo>
                <a:lnTo>
                  <a:pt x="428452" y="546488"/>
                </a:lnTo>
                <a:lnTo>
                  <a:pt x="466929" y="522583"/>
                </a:lnTo>
                <a:lnTo>
                  <a:pt x="501158" y="493212"/>
                </a:lnTo>
                <a:lnTo>
                  <a:pt x="530530" y="458984"/>
                </a:lnTo>
                <a:lnTo>
                  <a:pt x="554435" y="420508"/>
                </a:lnTo>
                <a:lnTo>
                  <a:pt x="572265" y="378394"/>
                </a:lnTo>
                <a:lnTo>
                  <a:pt x="583409" y="333251"/>
                </a:lnTo>
                <a:lnTo>
                  <a:pt x="587259" y="285687"/>
                </a:lnTo>
                <a:lnTo>
                  <a:pt x="587259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8" name="bg object 17">
            <a:extLst>
              <a:ext uri="{FF2B5EF4-FFF2-40B4-BE49-F238E27FC236}">
                <a16:creationId xmlns:a16="http://schemas.microsoft.com/office/drawing/2014/main" id="{F141FB2D-E49F-D17A-954E-788ADEE9D662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8065731" y="11020372"/>
            <a:ext cx="91557" cy="243814"/>
          </a:xfrm>
          <a:prstGeom prst="rect">
            <a:avLst/>
          </a:prstGeom>
        </p:spPr>
      </p:pic>
      <p:pic>
        <p:nvPicPr>
          <p:cNvPr id="9" name="bg object 18">
            <a:extLst>
              <a:ext uri="{FF2B5EF4-FFF2-40B4-BE49-F238E27FC236}">
                <a16:creationId xmlns:a16="http://schemas.microsoft.com/office/drawing/2014/main" id="{B9F5B9EA-FB36-D1AC-C495-9F1D74E1F999}"/>
              </a:ext>
            </a:extLst>
          </p:cNvPr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8196176" y="11020373"/>
            <a:ext cx="157984" cy="188088"/>
          </a:xfrm>
          <a:prstGeom prst="rect">
            <a:avLst/>
          </a:prstGeom>
        </p:spPr>
      </p:pic>
      <p:pic>
        <p:nvPicPr>
          <p:cNvPr id="10" name="bg object 19">
            <a:extLst>
              <a:ext uri="{FF2B5EF4-FFF2-40B4-BE49-F238E27FC236}">
                <a16:creationId xmlns:a16="http://schemas.microsoft.com/office/drawing/2014/main" id="{6D2750CB-065A-7E2E-0F72-CEE855ACC917}"/>
              </a:ext>
            </a:extLst>
          </p:cNvPr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8384343" y="11017713"/>
            <a:ext cx="284270" cy="190748"/>
          </a:xfrm>
          <a:prstGeom prst="rect">
            <a:avLst/>
          </a:prstGeom>
        </p:spPr>
      </p:pic>
      <p:sp>
        <p:nvSpPr>
          <p:cNvPr id="11" name="bg object 20">
            <a:extLst>
              <a:ext uri="{FF2B5EF4-FFF2-40B4-BE49-F238E27FC236}">
                <a16:creationId xmlns:a16="http://schemas.microsoft.com/office/drawing/2014/main" id="{F86B6FF7-4569-B223-54B7-BCDEDC81D323}"/>
              </a:ext>
            </a:extLst>
          </p:cNvPr>
          <p:cNvSpPr/>
          <p:nvPr userDrawn="1"/>
        </p:nvSpPr>
        <p:spPr>
          <a:xfrm>
            <a:off x="18695001" y="11020376"/>
            <a:ext cx="50165" cy="186055"/>
          </a:xfrm>
          <a:custGeom>
            <a:avLst/>
            <a:gdLst/>
            <a:ahLst/>
            <a:cxnLst/>
            <a:rect l="l" t="t" r="r" b="b"/>
            <a:pathLst>
              <a:path w="50165" h="186054">
                <a:moveTo>
                  <a:pt x="50134" y="0"/>
                </a:moveTo>
                <a:lnTo>
                  <a:pt x="0" y="0"/>
                </a:lnTo>
                <a:lnTo>
                  <a:pt x="0" y="185554"/>
                </a:lnTo>
                <a:lnTo>
                  <a:pt x="50134" y="185554"/>
                </a:lnTo>
                <a:lnTo>
                  <a:pt x="501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2" name="bg object 21">
            <a:extLst>
              <a:ext uri="{FF2B5EF4-FFF2-40B4-BE49-F238E27FC236}">
                <a16:creationId xmlns:a16="http://schemas.microsoft.com/office/drawing/2014/main" id="{D667F120-F8DB-65D8-DEFC-46696520CD26}"/>
              </a:ext>
            </a:extLst>
          </p:cNvPr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8778226" y="11017713"/>
            <a:ext cx="146738" cy="190748"/>
          </a:xfrm>
          <a:prstGeom prst="rect">
            <a:avLst/>
          </a:prstGeom>
        </p:spPr>
      </p:pic>
      <p:sp>
        <p:nvSpPr>
          <p:cNvPr id="13" name="bg object 22">
            <a:extLst>
              <a:ext uri="{FF2B5EF4-FFF2-40B4-BE49-F238E27FC236}">
                <a16:creationId xmlns:a16="http://schemas.microsoft.com/office/drawing/2014/main" id="{4EA88E22-AD8F-CEB1-3BE7-713AC8B85696}"/>
              </a:ext>
            </a:extLst>
          </p:cNvPr>
          <p:cNvSpPr/>
          <p:nvPr userDrawn="1"/>
        </p:nvSpPr>
        <p:spPr>
          <a:xfrm>
            <a:off x="18952884" y="11020512"/>
            <a:ext cx="109855" cy="185420"/>
          </a:xfrm>
          <a:custGeom>
            <a:avLst/>
            <a:gdLst/>
            <a:ahLst/>
            <a:cxnLst/>
            <a:rect l="l" t="t" r="r" b="b"/>
            <a:pathLst>
              <a:path w="109855" h="185420">
                <a:moveTo>
                  <a:pt x="109601" y="0"/>
                </a:moveTo>
                <a:lnTo>
                  <a:pt x="0" y="0"/>
                </a:lnTo>
                <a:lnTo>
                  <a:pt x="0" y="40640"/>
                </a:lnTo>
                <a:lnTo>
                  <a:pt x="0" y="69850"/>
                </a:lnTo>
                <a:lnTo>
                  <a:pt x="0" y="109220"/>
                </a:lnTo>
                <a:lnTo>
                  <a:pt x="0" y="144780"/>
                </a:lnTo>
                <a:lnTo>
                  <a:pt x="0" y="185420"/>
                </a:lnTo>
                <a:lnTo>
                  <a:pt x="109601" y="185420"/>
                </a:lnTo>
                <a:lnTo>
                  <a:pt x="109601" y="144780"/>
                </a:lnTo>
                <a:lnTo>
                  <a:pt x="49885" y="144780"/>
                </a:lnTo>
                <a:lnTo>
                  <a:pt x="49885" y="109220"/>
                </a:lnTo>
                <a:lnTo>
                  <a:pt x="105181" y="109220"/>
                </a:lnTo>
                <a:lnTo>
                  <a:pt x="105181" y="69850"/>
                </a:lnTo>
                <a:lnTo>
                  <a:pt x="49885" y="69850"/>
                </a:lnTo>
                <a:lnTo>
                  <a:pt x="49885" y="40640"/>
                </a:lnTo>
                <a:lnTo>
                  <a:pt x="109601" y="40640"/>
                </a:lnTo>
                <a:lnTo>
                  <a:pt x="109601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4" name="bg object 23">
            <a:extLst>
              <a:ext uri="{FF2B5EF4-FFF2-40B4-BE49-F238E27FC236}">
                <a16:creationId xmlns:a16="http://schemas.microsoft.com/office/drawing/2014/main" id="{69D50B44-F20A-703B-4CCB-12F606D48008}"/>
              </a:ext>
            </a:extLst>
          </p:cNvPr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8055059" y="11302723"/>
            <a:ext cx="235657" cy="180287"/>
          </a:xfrm>
          <a:prstGeom prst="rect">
            <a:avLst/>
          </a:prstGeom>
        </p:spPr>
      </p:pic>
      <p:sp>
        <p:nvSpPr>
          <p:cNvPr id="15" name="bg object 24">
            <a:extLst>
              <a:ext uri="{FF2B5EF4-FFF2-40B4-BE49-F238E27FC236}">
                <a16:creationId xmlns:a16="http://schemas.microsoft.com/office/drawing/2014/main" id="{E6393075-D66F-3BA1-1DE2-52F5FB5AAB15}"/>
              </a:ext>
            </a:extLst>
          </p:cNvPr>
          <p:cNvSpPr/>
          <p:nvPr userDrawn="1"/>
        </p:nvSpPr>
        <p:spPr>
          <a:xfrm>
            <a:off x="18316233" y="11302681"/>
            <a:ext cx="362585" cy="180340"/>
          </a:xfrm>
          <a:custGeom>
            <a:avLst/>
            <a:gdLst/>
            <a:ahLst/>
            <a:cxnLst/>
            <a:rect l="l" t="t" r="r" b="b"/>
            <a:pathLst>
              <a:path w="362584" h="180340">
                <a:moveTo>
                  <a:pt x="29476" y="50"/>
                </a:moveTo>
                <a:lnTo>
                  <a:pt x="0" y="50"/>
                </a:lnTo>
                <a:lnTo>
                  <a:pt x="0" y="180340"/>
                </a:lnTo>
                <a:lnTo>
                  <a:pt x="29476" y="180340"/>
                </a:lnTo>
                <a:lnTo>
                  <a:pt x="29476" y="50"/>
                </a:lnTo>
                <a:close/>
              </a:path>
              <a:path w="362584" h="180340">
                <a:moveTo>
                  <a:pt x="192379" y="0"/>
                </a:moveTo>
                <a:lnTo>
                  <a:pt x="56845" y="0"/>
                </a:lnTo>
                <a:lnTo>
                  <a:pt x="56845" y="25400"/>
                </a:lnTo>
                <a:lnTo>
                  <a:pt x="109880" y="25400"/>
                </a:lnTo>
                <a:lnTo>
                  <a:pt x="109880" y="180340"/>
                </a:lnTo>
                <a:lnTo>
                  <a:pt x="139344" y="180340"/>
                </a:lnTo>
                <a:lnTo>
                  <a:pt x="139344" y="25400"/>
                </a:lnTo>
                <a:lnTo>
                  <a:pt x="192379" y="25400"/>
                </a:lnTo>
                <a:lnTo>
                  <a:pt x="192379" y="0"/>
                </a:lnTo>
                <a:close/>
              </a:path>
              <a:path w="362584" h="180340">
                <a:moveTo>
                  <a:pt x="362191" y="0"/>
                </a:moveTo>
                <a:lnTo>
                  <a:pt x="332587" y="0"/>
                </a:lnTo>
                <a:lnTo>
                  <a:pt x="332587" y="73660"/>
                </a:lnTo>
                <a:lnTo>
                  <a:pt x="249478" y="73660"/>
                </a:lnTo>
                <a:lnTo>
                  <a:pt x="249478" y="0"/>
                </a:lnTo>
                <a:lnTo>
                  <a:pt x="220002" y="0"/>
                </a:lnTo>
                <a:lnTo>
                  <a:pt x="220002" y="73660"/>
                </a:lnTo>
                <a:lnTo>
                  <a:pt x="220002" y="99060"/>
                </a:lnTo>
                <a:lnTo>
                  <a:pt x="220002" y="180340"/>
                </a:lnTo>
                <a:lnTo>
                  <a:pt x="249478" y="180340"/>
                </a:lnTo>
                <a:lnTo>
                  <a:pt x="249478" y="99060"/>
                </a:lnTo>
                <a:lnTo>
                  <a:pt x="332587" y="99060"/>
                </a:lnTo>
                <a:lnTo>
                  <a:pt x="332587" y="180340"/>
                </a:lnTo>
                <a:lnTo>
                  <a:pt x="362191" y="180340"/>
                </a:lnTo>
                <a:lnTo>
                  <a:pt x="362191" y="99060"/>
                </a:lnTo>
                <a:lnTo>
                  <a:pt x="362191" y="73660"/>
                </a:lnTo>
                <a:lnTo>
                  <a:pt x="362191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6" name="bg object 25">
            <a:extLst>
              <a:ext uri="{FF2B5EF4-FFF2-40B4-BE49-F238E27FC236}">
                <a16:creationId xmlns:a16="http://schemas.microsoft.com/office/drawing/2014/main" id="{23788A48-ACD6-B4CD-6864-7FBEACABE1B9}"/>
              </a:ext>
            </a:extLst>
          </p:cNvPr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8717022" y="11299886"/>
            <a:ext cx="168947" cy="185596"/>
          </a:xfrm>
          <a:prstGeom prst="rect">
            <a:avLst/>
          </a:prstGeom>
        </p:spPr>
      </p:pic>
      <p:pic>
        <p:nvPicPr>
          <p:cNvPr id="17" name="bg object 26">
            <a:extLst>
              <a:ext uri="{FF2B5EF4-FFF2-40B4-BE49-F238E27FC236}">
                <a16:creationId xmlns:a16="http://schemas.microsoft.com/office/drawing/2014/main" id="{155A49DF-A037-8166-1F66-405AAFABE968}"/>
              </a:ext>
            </a:extLst>
          </p:cNvPr>
          <p:cNvPicPr/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8923085" y="11302724"/>
            <a:ext cx="142927" cy="182758"/>
          </a:xfrm>
          <a:prstGeom prst="rect">
            <a:avLst/>
          </a:prstGeom>
        </p:spPr>
      </p:pic>
      <p:sp>
        <p:nvSpPr>
          <p:cNvPr id="18" name="bg object 27">
            <a:extLst>
              <a:ext uri="{FF2B5EF4-FFF2-40B4-BE49-F238E27FC236}">
                <a16:creationId xmlns:a16="http://schemas.microsoft.com/office/drawing/2014/main" id="{195E79C9-33E8-5C93-F6EC-E9FC8669B835}"/>
              </a:ext>
            </a:extLst>
          </p:cNvPr>
          <p:cNvSpPr/>
          <p:nvPr userDrawn="1"/>
        </p:nvSpPr>
        <p:spPr>
          <a:xfrm>
            <a:off x="19091898" y="11302681"/>
            <a:ext cx="135890" cy="180340"/>
          </a:xfrm>
          <a:custGeom>
            <a:avLst/>
            <a:gdLst/>
            <a:ahLst/>
            <a:cxnLst/>
            <a:rect l="l" t="t" r="r" b="b"/>
            <a:pathLst>
              <a:path w="135890" h="180340">
                <a:moveTo>
                  <a:pt x="135534" y="0"/>
                </a:moveTo>
                <a:lnTo>
                  <a:pt x="0" y="0"/>
                </a:lnTo>
                <a:lnTo>
                  <a:pt x="0" y="25400"/>
                </a:lnTo>
                <a:lnTo>
                  <a:pt x="53022" y="25400"/>
                </a:lnTo>
                <a:lnTo>
                  <a:pt x="53022" y="180340"/>
                </a:lnTo>
                <a:lnTo>
                  <a:pt x="82499" y="180340"/>
                </a:lnTo>
                <a:lnTo>
                  <a:pt x="82499" y="25400"/>
                </a:lnTo>
                <a:lnTo>
                  <a:pt x="135534" y="25400"/>
                </a:lnTo>
                <a:lnTo>
                  <a:pt x="1355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19" name="bg object 28">
            <a:extLst>
              <a:ext uri="{FF2B5EF4-FFF2-40B4-BE49-F238E27FC236}">
                <a16:creationId xmlns:a16="http://schemas.microsoft.com/office/drawing/2014/main" id="{A5D14FB9-20EB-E57C-C540-1E9269F5ABAE}"/>
              </a:ext>
            </a:extLst>
          </p:cNvPr>
          <p:cNvSpPr/>
          <p:nvPr userDrawn="1"/>
        </p:nvSpPr>
        <p:spPr>
          <a:xfrm>
            <a:off x="18065725" y="11566511"/>
            <a:ext cx="142875" cy="180975"/>
          </a:xfrm>
          <a:custGeom>
            <a:avLst/>
            <a:gdLst/>
            <a:ahLst/>
            <a:cxnLst/>
            <a:rect l="l" t="t" r="r" b="b"/>
            <a:pathLst>
              <a:path w="142875" h="180975">
                <a:moveTo>
                  <a:pt x="98767" y="169303"/>
                </a:moveTo>
                <a:lnTo>
                  <a:pt x="12598" y="169303"/>
                </a:lnTo>
                <a:lnTo>
                  <a:pt x="12598" y="393"/>
                </a:lnTo>
                <a:lnTo>
                  <a:pt x="0" y="393"/>
                </a:lnTo>
                <a:lnTo>
                  <a:pt x="0" y="169303"/>
                </a:lnTo>
                <a:lnTo>
                  <a:pt x="0" y="180733"/>
                </a:lnTo>
                <a:lnTo>
                  <a:pt x="98767" y="180733"/>
                </a:lnTo>
                <a:lnTo>
                  <a:pt x="98767" y="169303"/>
                </a:lnTo>
                <a:close/>
              </a:path>
              <a:path w="142875" h="180975">
                <a:moveTo>
                  <a:pt x="142532" y="0"/>
                </a:moveTo>
                <a:lnTo>
                  <a:pt x="129921" y="0"/>
                </a:lnTo>
                <a:lnTo>
                  <a:pt x="129921" y="180733"/>
                </a:lnTo>
                <a:lnTo>
                  <a:pt x="142532" y="180733"/>
                </a:lnTo>
                <a:lnTo>
                  <a:pt x="142532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0" name="bg object 29">
            <a:extLst>
              <a:ext uri="{FF2B5EF4-FFF2-40B4-BE49-F238E27FC236}">
                <a16:creationId xmlns:a16="http://schemas.microsoft.com/office/drawing/2014/main" id="{1E93FAB8-A6E6-BC4F-E3D5-C46EFAE035EE}"/>
              </a:ext>
            </a:extLst>
          </p:cNvPr>
          <p:cNvSpPr/>
          <p:nvPr userDrawn="1"/>
        </p:nvSpPr>
        <p:spPr>
          <a:xfrm>
            <a:off x="18235080" y="11566511"/>
            <a:ext cx="170180" cy="180975"/>
          </a:xfrm>
          <a:custGeom>
            <a:avLst/>
            <a:gdLst/>
            <a:ahLst/>
            <a:cxnLst/>
            <a:rect l="l" t="t" r="r" b="b"/>
            <a:pathLst>
              <a:path w="170180" h="180975">
                <a:moveTo>
                  <a:pt x="130175" y="393"/>
                </a:moveTo>
                <a:lnTo>
                  <a:pt x="0" y="393"/>
                </a:lnTo>
                <a:lnTo>
                  <a:pt x="0" y="11823"/>
                </a:lnTo>
                <a:lnTo>
                  <a:pt x="58724" y="11823"/>
                </a:lnTo>
                <a:lnTo>
                  <a:pt x="58724" y="180733"/>
                </a:lnTo>
                <a:lnTo>
                  <a:pt x="71450" y="180733"/>
                </a:lnTo>
                <a:lnTo>
                  <a:pt x="71450" y="11823"/>
                </a:lnTo>
                <a:lnTo>
                  <a:pt x="130175" y="11823"/>
                </a:lnTo>
                <a:lnTo>
                  <a:pt x="130175" y="393"/>
                </a:lnTo>
                <a:close/>
              </a:path>
              <a:path w="170180" h="180975">
                <a:moveTo>
                  <a:pt x="169608" y="0"/>
                </a:moveTo>
                <a:lnTo>
                  <a:pt x="156997" y="0"/>
                </a:lnTo>
                <a:lnTo>
                  <a:pt x="156997" y="180733"/>
                </a:lnTo>
                <a:lnTo>
                  <a:pt x="169608" y="180733"/>
                </a:lnTo>
                <a:lnTo>
                  <a:pt x="169608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21" name="bg object 30">
            <a:extLst>
              <a:ext uri="{FF2B5EF4-FFF2-40B4-BE49-F238E27FC236}">
                <a16:creationId xmlns:a16="http://schemas.microsoft.com/office/drawing/2014/main" id="{D6EED40C-3CC4-7517-D55D-5B8658639DA9}"/>
              </a:ext>
            </a:extLst>
          </p:cNvPr>
          <p:cNvPicPr/>
          <p:nvPr userDrawn="1"/>
        </p:nvPicPr>
        <p:blipFill>
          <a:blip r:embed="rId9" cstate="print"/>
          <a:stretch>
            <a:fillRect/>
          </a:stretch>
        </p:blipFill>
        <p:spPr>
          <a:xfrm>
            <a:off x="18446220" y="11563659"/>
            <a:ext cx="147367" cy="186046"/>
          </a:xfrm>
          <a:prstGeom prst="rect">
            <a:avLst/>
          </a:prstGeom>
        </p:spPr>
      </p:pic>
      <p:pic>
        <p:nvPicPr>
          <p:cNvPr id="22" name="bg object 31">
            <a:extLst>
              <a:ext uri="{FF2B5EF4-FFF2-40B4-BE49-F238E27FC236}">
                <a16:creationId xmlns:a16="http://schemas.microsoft.com/office/drawing/2014/main" id="{156C6855-FE36-15DF-5F92-F834C0ED558C}"/>
              </a:ext>
            </a:extLst>
          </p:cNvPr>
          <p:cNvPicPr/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18613357" y="11565767"/>
            <a:ext cx="283342" cy="181470"/>
          </a:xfrm>
          <a:prstGeom prst="rect">
            <a:avLst/>
          </a:prstGeom>
        </p:spPr>
      </p:pic>
      <p:sp>
        <p:nvSpPr>
          <p:cNvPr id="23" name="bg object 32">
            <a:extLst>
              <a:ext uri="{FF2B5EF4-FFF2-40B4-BE49-F238E27FC236}">
                <a16:creationId xmlns:a16="http://schemas.microsoft.com/office/drawing/2014/main" id="{5FD31854-104D-FF97-AF6D-96471FB789F1}"/>
              </a:ext>
            </a:extLst>
          </p:cNvPr>
          <p:cNvSpPr/>
          <p:nvPr userDrawn="1"/>
        </p:nvSpPr>
        <p:spPr>
          <a:xfrm>
            <a:off x="18923528" y="11566506"/>
            <a:ext cx="12700" cy="180975"/>
          </a:xfrm>
          <a:custGeom>
            <a:avLst/>
            <a:gdLst/>
            <a:ahLst/>
            <a:cxnLst/>
            <a:rect l="l" t="t" r="r" b="b"/>
            <a:pathLst>
              <a:path w="12700" h="180975">
                <a:moveTo>
                  <a:pt x="12606" y="0"/>
                </a:moveTo>
                <a:lnTo>
                  <a:pt x="0" y="0"/>
                </a:lnTo>
                <a:lnTo>
                  <a:pt x="0" y="180727"/>
                </a:lnTo>
                <a:lnTo>
                  <a:pt x="12606" y="180727"/>
                </a:lnTo>
                <a:lnTo>
                  <a:pt x="12606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24" name="bg object 33">
            <a:extLst>
              <a:ext uri="{FF2B5EF4-FFF2-40B4-BE49-F238E27FC236}">
                <a16:creationId xmlns:a16="http://schemas.microsoft.com/office/drawing/2014/main" id="{4C253565-7AFF-6E83-BDCB-1437AE8CAD03}"/>
              </a:ext>
            </a:extLst>
          </p:cNvPr>
          <p:cNvPicPr/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18977667" y="11563661"/>
            <a:ext cx="161576" cy="186046"/>
          </a:xfrm>
          <a:prstGeom prst="rect">
            <a:avLst/>
          </a:prstGeom>
        </p:spPr>
      </p:pic>
      <p:pic>
        <p:nvPicPr>
          <p:cNvPr id="25" name="bg object 34">
            <a:extLst>
              <a:ext uri="{FF2B5EF4-FFF2-40B4-BE49-F238E27FC236}">
                <a16:creationId xmlns:a16="http://schemas.microsoft.com/office/drawing/2014/main" id="{960E08D0-2CC6-5DD1-12BA-45BB34E4225F}"/>
              </a:ext>
            </a:extLst>
          </p:cNvPr>
          <p:cNvPicPr/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19180778" y="11566509"/>
            <a:ext cx="131409" cy="180727"/>
          </a:xfrm>
          <a:prstGeom prst="rect">
            <a:avLst/>
          </a:prstGeom>
        </p:spPr>
      </p:pic>
      <p:sp>
        <p:nvSpPr>
          <p:cNvPr id="26" name="bg object 35">
            <a:extLst>
              <a:ext uri="{FF2B5EF4-FFF2-40B4-BE49-F238E27FC236}">
                <a16:creationId xmlns:a16="http://schemas.microsoft.com/office/drawing/2014/main" id="{F9EE552A-E7ED-649F-0B26-5BD41CF5C3DD}"/>
              </a:ext>
            </a:extLst>
          </p:cNvPr>
          <p:cNvSpPr/>
          <p:nvPr userDrawn="1"/>
        </p:nvSpPr>
        <p:spPr>
          <a:xfrm>
            <a:off x="17305002" y="11018376"/>
            <a:ext cx="513715" cy="76200"/>
          </a:xfrm>
          <a:custGeom>
            <a:avLst/>
            <a:gdLst/>
            <a:ahLst/>
            <a:cxnLst/>
            <a:rect l="l" t="t" r="r" b="b"/>
            <a:pathLst>
              <a:path w="513715" h="76200">
                <a:moveTo>
                  <a:pt x="513418" y="0"/>
                </a:moveTo>
                <a:lnTo>
                  <a:pt x="0" y="0"/>
                </a:lnTo>
                <a:lnTo>
                  <a:pt x="0" y="76050"/>
                </a:lnTo>
                <a:lnTo>
                  <a:pt x="513418" y="76050"/>
                </a:lnTo>
                <a:lnTo>
                  <a:pt x="513418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7" name="bg object 36">
            <a:extLst>
              <a:ext uri="{FF2B5EF4-FFF2-40B4-BE49-F238E27FC236}">
                <a16:creationId xmlns:a16="http://schemas.microsoft.com/office/drawing/2014/main" id="{5EC67005-C824-1420-94C1-8986B52CC4BB}"/>
              </a:ext>
            </a:extLst>
          </p:cNvPr>
          <p:cNvSpPr/>
          <p:nvPr userDrawn="1"/>
        </p:nvSpPr>
        <p:spPr>
          <a:xfrm>
            <a:off x="497344" y="0"/>
            <a:ext cx="630555" cy="4417695"/>
          </a:xfrm>
          <a:custGeom>
            <a:avLst/>
            <a:gdLst/>
            <a:ahLst/>
            <a:cxnLst/>
            <a:rect l="l" t="t" r="r" b="b"/>
            <a:pathLst>
              <a:path w="630555" h="4417695">
                <a:moveTo>
                  <a:pt x="630242" y="4083639"/>
                </a:moveTo>
                <a:lnTo>
                  <a:pt x="630242" y="4073744"/>
                </a:lnTo>
                <a:lnTo>
                  <a:pt x="630106" y="4073859"/>
                </a:lnTo>
                <a:lnTo>
                  <a:pt x="629855" y="4074090"/>
                </a:lnTo>
                <a:lnTo>
                  <a:pt x="629855" y="0"/>
                </a:lnTo>
              </a:path>
              <a:path w="630555" h="4417695">
                <a:moveTo>
                  <a:pt x="2434" y="0"/>
                </a:moveTo>
                <a:lnTo>
                  <a:pt x="0" y="2699357"/>
                </a:lnTo>
                <a:lnTo>
                  <a:pt x="0" y="4417388"/>
                </a:lnTo>
                <a:lnTo>
                  <a:pt x="49735" y="4401593"/>
                </a:lnTo>
                <a:lnTo>
                  <a:pt x="98845" y="4384492"/>
                </a:lnTo>
                <a:lnTo>
                  <a:pt x="147304" y="4366102"/>
                </a:lnTo>
                <a:lnTo>
                  <a:pt x="195086" y="4346440"/>
                </a:lnTo>
                <a:lnTo>
                  <a:pt x="242168" y="4325523"/>
                </a:lnTo>
                <a:lnTo>
                  <a:pt x="288524" y="4303369"/>
                </a:lnTo>
                <a:lnTo>
                  <a:pt x="334129" y="4279994"/>
                </a:lnTo>
                <a:lnTo>
                  <a:pt x="378959" y="4255416"/>
                </a:lnTo>
                <a:lnTo>
                  <a:pt x="422987" y="4229652"/>
                </a:lnTo>
                <a:lnTo>
                  <a:pt x="466190" y="4202719"/>
                </a:lnTo>
                <a:lnTo>
                  <a:pt x="508541" y="4174634"/>
                </a:lnTo>
                <a:lnTo>
                  <a:pt x="550017" y="4145414"/>
                </a:lnTo>
                <a:lnTo>
                  <a:pt x="590593" y="4115077"/>
                </a:lnTo>
                <a:lnTo>
                  <a:pt x="630242" y="4083639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8" name="bg object 37">
            <a:extLst>
              <a:ext uri="{FF2B5EF4-FFF2-40B4-BE49-F238E27FC236}">
                <a16:creationId xmlns:a16="http://schemas.microsoft.com/office/drawing/2014/main" id="{00F6A794-4A25-6A4A-A2EF-7D17FDC657BF}"/>
              </a:ext>
            </a:extLst>
          </p:cNvPr>
          <p:cNvSpPr/>
          <p:nvPr userDrawn="1"/>
        </p:nvSpPr>
        <p:spPr>
          <a:xfrm>
            <a:off x="15802178" y="448750"/>
            <a:ext cx="4302125" cy="677545"/>
          </a:xfrm>
          <a:custGeom>
            <a:avLst/>
            <a:gdLst/>
            <a:ahLst/>
            <a:cxnLst/>
            <a:rect l="l" t="t" r="r" b="b"/>
            <a:pathLst>
              <a:path w="4302125" h="677544">
                <a:moveTo>
                  <a:pt x="4301921" y="0"/>
                </a:moveTo>
                <a:lnTo>
                  <a:pt x="0" y="0"/>
                </a:lnTo>
                <a:lnTo>
                  <a:pt x="0" y="677036"/>
                </a:lnTo>
                <a:lnTo>
                  <a:pt x="4301921" y="67703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9" name="bg object 38">
            <a:extLst>
              <a:ext uri="{FF2B5EF4-FFF2-40B4-BE49-F238E27FC236}">
                <a16:creationId xmlns:a16="http://schemas.microsoft.com/office/drawing/2014/main" id="{F5D81608-0E9F-C5AD-6BCD-58830B0F6F16}"/>
              </a:ext>
            </a:extLst>
          </p:cNvPr>
          <p:cNvSpPr/>
          <p:nvPr userDrawn="1"/>
        </p:nvSpPr>
        <p:spPr>
          <a:xfrm>
            <a:off x="15884111" y="10541781"/>
            <a:ext cx="4220210" cy="2306320"/>
          </a:xfrm>
          <a:custGeom>
            <a:avLst/>
            <a:gdLst/>
            <a:ahLst/>
            <a:cxnLst/>
            <a:rect l="l" t="t" r="r" b="b"/>
            <a:pathLst>
              <a:path w="4220209" h="2306320">
                <a:moveTo>
                  <a:pt x="4219988" y="815958"/>
                </a:moveTo>
                <a:lnTo>
                  <a:pt x="4191904" y="882755"/>
                </a:lnTo>
                <a:lnTo>
                  <a:pt x="4172368" y="925143"/>
                </a:lnTo>
                <a:lnTo>
                  <a:pt x="4151819" y="966953"/>
                </a:lnTo>
                <a:lnTo>
                  <a:pt x="4130274" y="1008168"/>
                </a:lnTo>
                <a:lnTo>
                  <a:pt x="4107749" y="1048774"/>
                </a:lnTo>
                <a:lnTo>
                  <a:pt x="4084260" y="1088754"/>
                </a:lnTo>
                <a:lnTo>
                  <a:pt x="4059821" y="1128093"/>
                </a:lnTo>
                <a:lnTo>
                  <a:pt x="4034449" y="1166773"/>
                </a:lnTo>
                <a:lnTo>
                  <a:pt x="4008160" y="1204781"/>
                </a:lnTo>
                <a:lnTo>
                  <a:pt x="3980969" y="1242098"/>
                </a:lnTo>
                <a:lnTo>
                  <a:pt x="3952893" y="1278711"/>
                </a:lnTo>
                <a:lnTo>
                  <a:pt x="3923946" y="1314603"/>
                </a:lnTo>
                <a:lnTo>
                  <a:pt x="3894144" y="1349757"/>
                </a:lnTo>
                <a:lnTo>
                  <a:pt x="3863505" y="1384159"/>
                </a:lnTo>
                <a:lnTo>
                  <a:pt x="3832042" y="1417791"/>
                </a:lnTo>
                <a:lnTo>
                  <a:pt x="3799772" y="1450639"/>
                </a:lnTo>
                <a:lnTo>
                  <a:pt x="3766711" y="1482687"/>
                </a:lnTo>
                <a:lnTo>
                  <a:pt x="3732874" y="1513918"/>
                </a:lnTo>
                <a:lnTo>
                  <a:pt x="3698277" y="1544317"/>
                </a:lnTo>
                <a:lnTo>
                  <a:pt x="3662937" y="1573867"/>
                </a:lnTo>
                <a:lnTo>
                  <a:pt x="3626868" y="1602554"/>
                </a:lnTo>
                <a:lnTo>
                  <a:pt x="3590086" y="1630360"/>
                </a:lnTo>
                <a:lnTo>
                  <a:pt x="3552607" y="1657271"/>
                </a:lnTo>
                <a:lnTo>
                  <a:pt x="3514448" y="1683270"/>
                </a:lnTo>
                <a:lnTo>
                  <a:pt x="3475623" y="1708341"/>
                </a:lnTo>
                <a:lnTo>
                  <a:pt x="3436148" y="1732468"/>
                </a:lnTo>
                <a:lnTo>
                  <a:pt x="3396040" y="1755637"/>
                </a:lnTo>
                <a:lnTo>
                  <a:pt x="3355314" y="1777830"/>
                </a:lnTo>
                <a:lnTo>
                  <a:pt x="3313985" y="1799031"/>
                </a:lnTo>
                <a:lnTo>
                  <a:pt x="3272070" y="1819226"/>
                </a:lnTo>
                <a:lnTo>
                  <a:pt x="3229584" y="1838398"/>
                </a:lnTo>
                <a:lnTo>
                  <a:pt x="3186543" y="1856530"/>
                </a:lnTo>
                <a:lnTo>
                  <a:pt x="3142962" y="1873609"/>
                </a:lnTo>
                <a:lnTo>
                  <a:pt x="3098858" y="1889616"/>
                </a:lnTo>
                <a:lnTo>
                  <a:pt x="3054247" y="1904537"/>
                </a:lnTo>
                <a:lnTo>
                  <a:pt x="3009143" y="1918356"/>
                </a:lnTo>
                <a:lnTo>
                  <a:pt x="2963563" y="1931056"/>
                </a:lnTo>
                <a:lnTo>
                  <a:pt x="2917522" y="1942622"/>
                </a:lnTo>
                <a:lnTo>
                  <a:pt x="2871037" y="1953038"/>
                </a:lnTo>
                <a:lnTo>
                  <a:pt x="2824123" y="1962288"/>
                </a:lnTo>
                <a:lnTo>
                  <a:pt x="2776795" y="1970357"/>
                </a:lnTo>
                <a:lnTo>
                  <a:pt x="2729070" y="1977227"/>
                </a:lnTo>
                <a:lnTo>
                  <a:pt x="2680963" y="1982885"/>
                </a:lnTo>
                <a:lnTo>
                  <a:pt x="2632491" y="1987312"/>
                </a:lnTo>
                <a:lnTo>
                  <a:pt x="2583668" y="1990494"/>
                </a:lnTo>
                <a:lnTo>
                  <a:pt x="2534510" y="1992415"/>
                </a:lnTo>
                <a:lnTo>
                  <a:pt x="2485034" y="1993059"/>
                </a:lnTo>
                <a:lnTo>
                  <a:pt x="2436764" y="1992447"/>
                </a:lnTo>
                <a:lnTo>
                  <a:pt x="2388796" y="1990619"/>
                </a:lnTo>
                <a:lnTo>
                  <a:pt x="2341143" y="1987591"/>
                </a:lnTo>
                <a:lnTo>
                  <a:pt x="2293821" y="1983377"/>
                </a:lnTo>
                <a:lnTo>
                  <a:pt x="2246844" y="1977992"/>
                </a:lnTo>
                <a:lnTo>
                  <a:pt x="2200227" y="1971450"/>
                </a:lnTo>
                <a:lnTo>
                  <a:pt x="2153985" y="1963767"/>
                </a:lnTo>
                <a:lnTo>
                  <a:pt x="2108132" y="1954958"/>
                </a:lnTo>
                <a:lnTo>
                  <a:pt x="2062683" y="1945036"/>
                </a:lnTo>
                <a:lnTo>
                  <a:pt x="2017652" y="1934016"/>
                </a:lnTo>
                <a:lnTo>
                  <a:pt x="1973055" y="1921914"/>
                </a:lnTo>
                <a:lnTo>
                  <a:pt x="1928906" y="1908745"/>
                </a:lnTo>
                <a:lnTo>
                  <a:pt x="1885220" y="1894521"/>
                </a:lnTo>
                <a:lnTo>
                  <a:pt x="1842011" y="1879260"/>
                </a:lnTo>
                <a:lnTo>
                  <a:pt x="1799294" y="1862975"/>
                </a:lnTo>
                <a:lnTo>
                  <a:pt x="1757084" y="1845680"/>
                </a:lnTo>
                <a:lnTo>
                  <a:pt x="1715395" y="1827392"/>
                </a:lnTo>
                <a:lnTo>
                  <a:pt x="1674242" y="1808123"/>
                </a:lnTo>
                <a:lnTo>
                  <a:pt x="1633641" y="1787890"/>
                </a:lnTo>
                <a:lnTo>
                  <a:pt x="1593605" y="1766707"/>
                </a:lnTo>
                <a:lnTo>
                  <a:pt x="1554149" y="1744589"/>
                </a:lnTo>
                <a:lnTo>
                  <a:pt x="1515288" y="1721550"/>
                </a:lnTo>
                <a:lnTo>
                  <a:pt x="1477037" y="1697605"/>
                </a:lnTo>
                <a:lnTo>
                  <a:pt x="1439410" y="1672769"/>
                </a:lnTo>
                <a:lnTo>
                  <a:pt x="1402422" y="1647056"/>
                </a:lnTo>
                <a:lnTo>
                  <a:pt x="1366087" y="1620482"/>
                </a:lnTo>
                <a:lnTo>
                  <a:pt x="1330421" y="1593060"/>
                </a:lnTo>
                <a:lnTo>
                  <a:pt x="1295438" y="1564807"/>
                </a:lnTo>
                <a:lnTo>
                  <a:pt x="1261153" y="1535736"/>
                </a:lnTo>
                <a:lnTo>
                  <a:pt x="1227580" y="1505862"/>
                </a:lnTo>
                <a:lnTo>
                  <a:pt x="1194734" y="1475200"/>
                </a:lnTo>
                <a:lnTo>
                  <a:pt x="1162630" y="1443764"/>
                </a:lnTo>
                <a:lnTo>
                  <a:pt x="1131283" y="1411570"/>
                </a:lnTo>
                <a:lnTo>
                  <a:pt x="1100707" y="1378633"/>
                </a:lnTo>
                <a:lnTo>
                  <a:pt x="1070916" y="1344966"/>
                </a:lnTo>
                <a:lnTo>
                  <a:pt x="1041926" y="1310584"/>
                </a:lnTo>
                <a:lnTo>
                  <a:pt x="1013752" y="1275503"/>
                </a:lnTo>
                <a:lnTo>
                  <a:pt x="986407" y="1239737"/>
                </a:lnTo>
                <a:lnTo>
                  <a:pt x="959907" y="1203301"/>
                </a:lnTo>
                <a:lnTo>
                  <a:pt x="934266" y="1166209"/>
                </a:lnTo>
                <a:lnTo>
                  <a:pt x="909500" y="1128476"/>
                </a:lnTo>
                <a:lnTo>
                  <a:pt x="885621" y="1090118"/>
                </a:lnTo>
                <a:lnTo>
                  <a:pt x="862647" y="1051148"/>
                </a:lnTo>
                <a:lnTo>
                  <a:pt x="840590" y="1011581"/>
                </a:lnTo>
                <a:lnTo>
                  <a:pt x="819466" y="971433"/>
                </a:lnTo>
                <a:lnTo>
                  <a:pt x="799290" y="930717"/>
                </a:lnTo>
                <a:lnTo>
                  <a:pt x="780076" y="889449"/>
                </a:lnTo>
                <a:lnTo>
                  <a:pt x="761838" y="847644"/>
                </a:lnTo>
                <a:lnTo>
                  <a:pt x="744592" y="805315"/>
                </a:lnTo>
                <a:lnTo>
                  <a:pt x="728352" y="762479"/>
                </a:lnTo>
                <a:lnTo>
                  <a:pt x="713133" y="719148"/>
                </a:lnTo>
                <a:lnTo>
                  <a:pt x="698950" y="675339"/>
                </a:lnTo>
                <a:lnTo>
                  <a:pt x="685817" y="631066"/>
                </a:lnTo>
                <a:lnTo>
                  <a:pt x="673749" y="586344"/>
                </a:lnTo>
                <a:lnTo>
                  <a:pt x="662760" y="541187"/>
                </a:lnTo>
                <a:lnTo>
                  <a:pt x="652866" y="495610"/>
                </a:lnTo>
                <a:lnTo>
                  <a:pt x="644081" y="449629"/>
                </a:lnTo>
                <a:lnTo>
                  <a:pt x="636419" y="403256"/>
                </a:lnTo>
                <a:lnTo>
                  <a:pt x="629896" y="356509"/>
                </a:lnTo>
                <a:lnTo>
                  <a:pt x="624526" y="309400"/>
                </a:lnTo>
                <a:lnTo>
                  <a:pt x="620324" y="261945"/>
                </a:lnTo>
                <a:lnTo>
                  <a:pt x="617304" y="214159"/>
                </a:lnTo>
                <a:lnTo>
                  <a:pt x="615482" y="166055"/>
                </a:lnTo>
                <a:lnTo>
                  <a:pt x="614871" y="117650"/>
                </a:lnTo>
                <a:lnTo>
                  <a:pt x="615459" y="88007"/>
                </a:lnTo>
                <a:lnTo>
                  <a:pt x="616934" y="58593"/>
                </a:lnTo>
                <a:lnTo>
                  <a:pt x="618864" y="29295"/>
                </a:lnTo>
                <a:lnTo>
                  <a:pt x="620818" y="0"/>
                </a:lnTo>
                <a:lnTo>
                  <a:pt x="0" y="0"/>
                </a:lnTo>
                <a:lnTo>
                  <a:pt x="0" y="112425"/>
                </a:lnTo>
                <a:lnTo>
                  <a:pt x="462" y="160786"/>
                </a:lnTo>
                <a:lnTo>
                  <a:pt x="1844" y="208927"/>
                </a:lnTo>
                <a:lnTo>
                  <a:pt x="4137" y="256837"/>
                </a:lnTo>
                <a:lnTo>
                  <a:pt x="7333" y="304511"/>
                </a:lnTo>
                <a:lnTo>
                  <a:pt x="11422" y="351938"/>
                </a:lnTo>
                <a:lnTo>
                  <a:pt x="16398" y="399110"/>
                </a:lnTo>
                <a:lnTo>
                  <a:pt x="22251" y="446020"/>
                </a:lnTo>
                <a:lnTo>
                  <a:pt x="28973" y="492658"/>
                </a:lnTo>
                <a:lnTo>
                  <a:pt x="36555" y="539017"/>
                </a:lnTo>
                <a:lnTo>
                  <a:pt x="44990" y="585087"/>
                </a:lnTo>
                <a:lnTo>
                  <a:pt x="54268" y="630861"/>
                </a:lnTo>
                <a:lnTo>
                  <a:pt x="64382" y="676330"/>
                </a:lnTo>
                <a:lnTo>
                  <a:pt x="75322" y="721485"/>
                </a:lnTo>
                <a:lnTo>
                  <a:pt x="87081" y="766318"/>
                </a:lnTo>
                <a:lnTo>
                  <a:pt x="99650" y="810822"/>
                </a:lnTo>
                <a:lnTo>
                  <a:pt x="113021" y="854986"/>
                </a:lnTo>
                <a:lnTo>
                  <a:pt x="127185" y="898803"/>
                </a:lnTo>
                <a:lnTo>
                  <a:pt x="142133" y="942265"/>
                </a:lnTo>
                <a:lnTo>
                  <a:pt x="157858" y="985363"/>
                </a:lnTo>
                <a:lnTo>
                  <a:pt x="174351" y="1028088"/>
                </a:lnTo>
                <a:lnTo>
                  <a:pt x="191604" y="1070433"/>
                </a:lnTo>
                <a:lnTo>
                  <a:pt x="209607" y="1112388"/>
                </a:lnTo>
                <a:lnTo>
                  <a:pt x="228354" y="1153946"/>
                </a:lnTo>
                <a:lnTo>
                  <a:pt x="247835" y="1195098"/>
                </a:lnTo>
                <a:lnTo>
                  <a:pt x="268041" y="1235835"/>
                </a:lnTo>
                <a:lnTo>
                  <a:pt x="288965" y="1276149"/>
                </a:lnTo>
                <a:lnTo>
                  <a:pt x="310599" y="1316032"/>
                </a:lnTo>
                <a:lnTo>
                  <a:pt x="332932" y="1355475"/>
                </a:lnTo>
                <a:lnTo>
                  <a:pt x="355959" y="1394471"/>
                </a:lnTo>
                <a:lnTo>
                  <a:pt x="379668" y="1433009"/>
                </a:lnTo>
                <a:lnTo>
                  <a:pt x="404054" y="1471083"/>
                </a:lnTo>
                <a:lnTo>
                  <a:pt x="429106" y="1508683"/>
                </a:lnTo>
                <a:lnTo>
                  <a:pt x="454817" y="1545801"/>
                </a:lnTo>
                <a:lnTo>
                  <a:pt x="481178" y="1582429"/>
                </a:lnTo>
                <a:lnTo>
                  <a:pt x="508181" y="1618559"/>
                </a:lnTo>
                <a:lnTo>
                  <a:pt x="535817" y="1654181"/>
                </a:lnTo>
                <a:lnTo>
                  <a:pt x="564078" y="1689288"/>
                </a:lnTo>
                <a:lnTo>
                  <a:pt x="592956" y="1723871"/>
                </a:lnTo>
                <a:lnTo>
                  <a:pt x="622441" y="1757922"/>
                </a:lnTo>
                <a:lnTo>
                  <a:pt x="652527" y="1791432"/>
                </a:lnTo>
                <a:lnTo>
                  <a:pt x="683203" y="1824392"/>
                </a:lnTo>
                <a:lnTo>
                  <a:pt x="714463" y="1856796"/>
                </a:lnTo>
                <a:lnTo>
                  <a:pt x="746297" y="1888633"/>
                </a:lnTo>
                <a:lnTo>
                  <a:pt x="778697" y="1919895"/>
                </a:lnTo>
                <a:lnTo>
                  <a:pt x="811654" y="1950575"/>
                </a:lnTo>
                <a:lnTo>
                  <a:pt x="845161" y="1980664"/>
                </a:lnTo>
                <a:lnTo>
                  <a:pt x="879208" y="2010153"/>
                </a:lnTo>
                <a:lnTo>
                  <a:pt x="913788" y="2039033"/>
                </a:lnTo>
                <a:lnTo>
                  <a:pt x="948892" y="2067298"/>
                </a:lnTo>
                <a:lnTo>
                  <a:pt x="984511" y="2094937"/>
                </a:lnTo>
                <a:lnTo>
                  <a:pt x="1020637" y="2121943"/>
                </a:lnTo>
                <a:lnTo>
                  <a:pt x="1057262" y="2148307"/>
                </a:lnTo>
                <a:lnTo>
                  <a:pt x="1094378" y="2174021"/>
                </a:lnTo>
                <a:lnTo>
                  <a:pt x="1131975" y="2199077"/>
                </a:lnTo>
                <a:lnTo>
                  <a:pt x="1170046" y="2223465"/>
                </a:lnTo>
                <a:lnTo>
                  <a:pt x="1208582" y="2247178"/>
                </a:lnTo>
                <a:lnTo>
                  <a:pt x="1247574" y="2270207"/>
                </a:lnTo>
                <a:lnTo>
                  <a:pt x="1287014" y="2292544"/>
                </a:lnTo>
                <a:lnTo>
                  <a:pt x="1311807" y="2305994"/>
                </a:lnTo>
              </a:path>
              <a:path w="4220209" h="2306320">
                <a:moveTo>
                  <a:pt x="3669507" y="2305994"/>
                </a:moveTo>
                <a:lnTo>
                  <a:pt x="3733746" y="2270207"/>
                </a:lnTo>
                <a:lnTo>
                  <a:pt x="3772742" y="2247178"/>
                </a:lnTo>
                <a:lnTo>
                  <a:pt x="3811281" y="2223465"/>
                </a:lnTo>
                <a:lnTo>
                  <a:pt x="3849355" y="2199077"/>
                </a:lnTo>
                <a:lnTo>
                  <a:pt x="3886955" y="2174021"/>
                </a:lnTo>
                <a:lnTo>
                  <a:pt x="3924074" y="2148307"/>
                </a:lnTo>
                <a:lnTo>
                  <a:pt x="3960702" y="2121943"/>
                </a:lnTo>
                <a:lnTo>
                  <a:pt x="3996831" y="2094937"/>
                </a:lnTo>
                <a:lnTo>
                  <a:pt x="4032453" y="2067298"/>
                </a:lnTo>
                <a:lnTo>
                  <a:pt x="4067559" y="2039033"/>
                </a:lnTo>
                <a:lnTo>
                  <a:pt x="4102141" y="2010153"/>
                </a:lnTo>
                <a:lnTo>
                  <a:pt x="4136191" y="1980664"/>
                </a:lnTo>
                <a:lnTo>
                  <a:pt x="4169700" y="1950575"/>
                </a:lnTo>
                <a:lnTo>
                  <a:pt x="4202660" y="1919895"/>
                </a:lnTo>
                <a:lnTo>
                  <a:pt x="4219988" y="190317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30" name="Holder 6">
            <a:extLst>
              <a:ext uri="{FF2B5EF4-FFF2-40B4-BE49-F238E27FC236}">
                <a16:creationId xmlns:a16="http://schemas.microsoft.com/office/drawing/2014/main" id="{8CAF9515-3B22-7BE1-073F-33C805FCD294}"/>
              </a:ext>
            </a:extLst>
          </p:cNvPr>
          <p:cNvSpPr txBox="1">
            <a:spLocks/>
          </p:cNvSpPr>
          <p:nvPr userDrawn="1"/>
        </p:nvSpPr>
        <p:spPr>
          <a:xfrm>
            <a:off x="1689596" y="12106784"/>
            <a:ext cx="299085" cy="24828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1450" b="0" i="0" kern="1200">
                <a:solidFill>
                  <a:srgbClr val="A78A4C"/>
                </a:solidFill>
                <a:latin typeface="HelveticaNeue-Light"/>
                <a:ea typeface="+mn-ea"/>
                <a:cs typeface="HelveticaNeue-Ligh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85"/>
              </a:spcBef>
            </a:pPr>
            <a:fld id="{81D60167-4931-47E6-BA6A-407CBD079E47}" type="slidenum">
              <a:rPr lang="en-US" spc="15" smtClean="0"/>
              <a:pPr marL="38100">
                <a:spcBef>
                  <a:spcPts val="85"/>
                </a:spcBef>
              </a:pPr>
              <a:t>‹#›</a:t>
            </a:fld>
            <a:endParaRPr lang="en-US" spc="15" dirty="0"/>
          </a:p>
        </p:txBody>
      </p:sp>
    </p:spTree>
    <p:extLst>
      <p:ext uri="{BB962C8B-B14F-4D97-AF65-F5344CB8AC3E}">
        <p14:creationId xmlns:p14="http://schemas.microsoft.com/office/powerpoint/2010/main" val="5582824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28E56AEA-DB12-456E-5AB7-397ADE0F272F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6835394" y="11952732"/>
            <a:ext cx="643331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JUSTICE WITHOUT LITIGATION II - ECONOMIC PART</a:t>
            </a:r>
            <a:endParaRPr lang="de-DE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8FB5A8F3-17C4-5FEA-9743-E97CDCAAC40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1611112" y="11906531"/>
            <a:ext cx="462394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12th March 2025 | Rome</a:t>
            </a:r>
            <a:endParaRPr lang="en-US"/>
          </a:p>
        </p:txBody>
      </p:sp>
      <p:sp>
        <p:nvSpPr>
          <p:cNvPr id="7" name="Holder 6">
            <a:extLst>
              <a:ext uri="{FF2B5EF4-FFF2-40B4-BE49-F238E27FC236}">
                <a16:creationId xmlns:a16="http://schemas.microsoft.com/office/drawing/2014/main" id="{D76ADDD1-22A5-80EE-FDEC-7D09BDF00DB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7888974" y="11937469"/>
            <a:ext cx="1047254" cy="223138"/>
          </a:xfrm>
          <a:prstGeom prst="rect">
            <a:avLst/>
          </a:prstGeom>
        </p:spPr>
        <p:txBody>
          <a:bodyPr lIns="0" tIns="0" rIns="0" bIns="0"/>
          <a:lstStyle>
            <a:lvl1pPr>
              <a:defRPr sz="1450" b="0" i="0">
                <a:solidFill>
                  <a:srgbClr val="A78A4C"/>
                </a:solidFill>
                <a:latin typeface="HelveticaNeue-Light"/>
                <a:cs typeface="HelveticaNeue-Light"/>
              </a:defRPr>
            </a:lvl1pPr>
          </a:lstStyle>
          <a:p>
            <a:pPr marL="38100">
              <a:lnSpc>
                <a:spcPct val="100000"/>
              </a:lnSpc>
              <a:spcBef>
                <a:spcPts val="85"/>
              </a:spcBef>
            </a:pPr>
            <a:fld id="{81D60167-4931-47E6-BA6A-407CBD079E47}" type="slidenum">
              <a:rPr spc="15"/>
              <a:t>‹#›</a:t>
            </a:fld>
            <a:endParaRPr spc="15" dirty="0"/>
          </a:p>
        </p:txBody>
      </p:sp>
    </p:spTree>
    <p:extLst>
      <p:ext uri="{BB962C8B-B14F-4D97-AF65-F5344CB8AC3E}">
        <p14:creationId xmlns:p14="http://schemas.microsoft.com/office/powerpoint/2010/main" val="28024588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7DA764-BA9E-E0B3-8F02-271B843659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3203575"/>
            <a:ext cx="17340263" cy="534670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1B6771-0DBE-A5B4-098A-32E15B6444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71600" y="8601075"/>
            <a:ext cx="17340263" cy="2811463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EE58B0-89B2-A061-6353-34C90F9C2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bg object 16">
            <a:extLst>
              <a:ext uri="{FF2B5EF4-FFF2-40B4-BE49-F238E27FC236}">
                <a16:creationId xmlns:a16="http://schemas.microsoft.com/office/drawing/2014/main" id="{03851034-5C36-9913-2C24-F3B7A1E7043A}"/>
              </a:ext>
            </a:extLst>
          </p:cNvPr>
          <p:cNvSpPr/>
          <p:nvPr userDrawn="1"/>
        </p:nvSpPr>
        <p:spPr>
          <a:xfrm>
            <a:off x="17231199" y="11172070"/>
            <a:ext cx="587375" cy="579755"/>
          </a:xfrm>
          <a:custGeom>
            <a:avLst/>
            <a:gdLst/>
            <a:ahLst/>
            <a:cxnLst/>
            <a:rect l="l" t="t" r="r" b="b"/>
            <a:pathLst>
              <a:path w="587375" h="579754">
                <a:moveTo>
                  <a:pt x="587259" y="0"/>
                </a:moveTo>
                <a:lnTo>
                  <a:pt x="513460" y="0"/>
                </a:lnTo>
                <a:lnTo>
                  <a:pt x="513460" y="285687"/>
                </a:lnTo>
                <a:lnTo>
                  <a:pt x="507898" y="334898"/>
                </a:lnTo>
                <a:lnTo>
                  <a:pt x="492045" y="380220"/>
                </a:lnTo>
                <a:lnTo>
                  <a:pt x="467148" y="420422"/>
                </a:lnTo>
                <a:lnTo>
                  <a:pt x="434457" y="454279"/>
                </a:lnTo>
                <a:lnTo>
                  <a:pt x="434457" y="0"/>
                </a:lnTo>
                <a:lnTo>
                  <a:pt x="358407" y="0"/>
                </a:lnTo>
                <a:lnTo>
                  <a:pt x="358407" y="495754"/>
                </a:lnTo>
                <a:lnTo>
                  <a:pt x="342810" y="499947"/>
                </a:lnTo>
                <a:lnTo>
                  <a:pt x="326785" y="503005"/>
                </a:lnTo>
                <a:lnTo>
                  <a:pt x="310376" y="504877"/>
                </a:lnTo>
                <a:lnTo>
                  <a:pt x="293624" y="505513"/>
                </a:lnTo>
                <a:lnTo>
                  <a:pt x="249374" y="501039"/>
                </a:lnTo>
                <a:lnTo>
                  <a:pt x="208134" y="488212"/>
                </a:lnTo>
                <a:lnTo>
                  <a:pt x="170795" y="467921"/>
                </a:lnTo>
                <a:lnTo>
                  <a:pt x="138248" y="441058"/>
                </a:lnTo>
                <a:lnTo>
                  <a:pt x="111383" y="408513"/>
                </a:lnTo>
                <a:lnTo>
                  <a:pt x="91090" y="371175"/>
                </a:lnTo>
                <a:lnTo>
                  <a:pt x="78262" y="329937"/>
                </a:lnTo>
                <a:lnTo>
                  <a:pt x="73788" y="285687"/>
                </a:lnTo>
                <a:lnTo>
                  <a:pt x="73788" y="272431"/>
                </a:lnTo>
                <a:lnTo>
                  <a:pt x="0" y="272431"/>
                </a:lnTo>
                <a:lnTo>
                  <a:pt x="0" y="285687"/>
                </a:lnTo>
                <a:lnTo>
                  <a:pt x="3850" y="333251"/>
                </a:lnTo>
                <a:lnTo>
                  <a:pt x="14995" y="378394"/>
                </a:lnTo>
                <a:lnTo>
                  <a:pt x="32825" y="420508"/>
                </a:lnTo>
                <a:lnTo>
                  <a:pt x="56731" y="458984"/>
                </a:lnTo>
                <a:lnTo>
                  <a:pt x="86103" y="493212"/>
                </a:lnTo>
                <a:lnTo>
                  <a:pt x="120332" y="522583"/>
                </a:lnTo>
                <a:lnTo>
                  <a:pt x="158808" y="546488"/>
                </a:lnTo>
                <a:lnTo>
                  <a:pt x="200921" y="564317"/>
                </a:lnTo>
                <a:lnTo>
                  <a:pt x="246063" y="575462"/>
                </a:lnTo>
                <a:lnTo>
                  <a:pt x="293624" y="579312"/>
                </a:lnTo>
                <a:lnTo>
                  <a:pt x="341190" y="575462"/>
                </a:lnTo>
                <a:lnTo>
                  <a:pt x="386336" y="564317"/>
                </a:lnTo>
                <a:lnTo>
                  <a:pt x="428452" y="546488"/>
                </a:lnTo>
                <a:lnTo>
                  <a:pt x="466929" y="522583"/>
                </a:lnTo>
                <a:lnTo>
                  <a:pt x="501158" y="493212"/>
                </a:lnTo>
                <a:lnTo>
                  <a:pt x="530530" y="458984"/>
                </a:lnTo>
                <a:lnTo>
                  <a:pt x="554435" y="420508"/>
                </a:lnTo>
                <a:lnTo>
                  <a:pt x="572265" y="378394"/>
                </a:lnTo>
                <a:lnTo>
                  <a:pt x="583409" y="333251"/>
                </a:lnTo>
                <a:lnTo>
                  <a:pt x="587259" y="285687"/>
                </a:lnTo>
                <a:lnTo>
                  <a:pt x="587259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8" name="bg object 17">
            <a:extLst>
              <a:ext uri="{FF2B5EF4-FFF2-40B4-BE49-F238E27FC236}">
                <a16:creationId xmlns:a16="http://schemas.microsoft.com/office/drawing/2014/main" id="{B4C58546-1B19-6A22-B9B8-A7E64F6EDDC1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8065731" y="11020372"/>
            <a:ext cx="91557" cy="243814"/>
          </a:xfrm>
          <a:prstGeom prst="rect">
            <a:avLst/>
          </a:prstGeom>
        </p:spPr>
      </p:pic>
      <p:pic>
        <p:nvPicPr>
          <p:cNvPr id="9" name="bg object 18">
            <a:extLst>
              <a:ext uri="{FF2B5EF4-FFF2-40B4-BE49-F238E27FC236}">
                <a16:creationId xmlns:a16="http://schemas.microsoft.com/office/drawing/2014/main" id="{F6692A20-448D-C70B-C20B-FD842481401B}"/>
              </a:ext>
            </a:extLst>
          </p:cNvPr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8196176" y="11020373"/>
            <a:ext cx="157984" cy="188088"/>
          </a:xfrm>
          <a:prstGeom prst="rect">
            <a:avLst/>
          </a:prstGeom>
        </p:spPr>
      </p:pic>
      <p:pic>
        <p:nvPicPr>
          <p:cNvPr id="10" name="bg object 19">
            <a:extLst>
              <a:ext uri="{FF2B5EF4-FFF2-40B4-BE49-F238E27FC236}">
                <a16:creationId xmlns:a16="http://schemas.microsoft.com/office/drawing/2014/main" id="{4C889CA3-6201-E76B-6DA6-1709C6735F6E}"/>
              </a:ext>
            </a:extLst>
          </p:cNvPr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8384343" y="11017713"/>
            <a:ext cx="284270" cy="190748"/>
          </a:xfrm>
          <a:prstGeom prst="rect">
            <a:avLst/>
          </a:prstGeom>
        </p:spPr>
      </p:pic>
      <p:sp>
        <p:nvSpPr>
          <p:cNvPr id="11" name="bg object 20">
            <a:extLst>
              <a:ext uri="{FF2B5EF4-FFF2-40B4-BE49-F238E27FC236}">
                <a16:creationId xmlns:a16="http://schemas.microsoft.com/office/drawing/2014/main" id="{35C3725E-C2B3-FC23-42CE-D7A56A237955}"/>
              </a:ext>
            </a:extLst>
          </p:cNvPr>
          <p:cNvSpPr/>
          <p:nvPr userDrawn="1"/>
        </p:nvSpPr>
        <p:spPr>
          <a:xfrm>
            <a:off x="18695001" y="11020376"/>
            <a:ext cx="50165" cy="186055"/>
          </a:xfrm>
          <a:custGeom>
            <a:avLst/>
            <a:gdLst/>
            <a:ahLst/>
            <a:cxnLst/>
            <a:rect l="l" t="t" r="r" b="b"/>
            <a:pathLst>
              <a:path w="50165" h="186054">
                <a:moveTo>
                  <a:pt x="50134" y="0"/>
                </a:moveTo>
                <a:lnTo>
                  <a:pt x="0" y="0"/>
                </a:lnTo>
                <a:lnTo>
                  <a:pt x="0" y="185554"/>
                </a:lnTo>
                <a:lnTo>
                  <a:pt x="50134" y="185554"/>
                </a:lnTo>
                <a:lnTo>
                  <a:pt x="501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2" name="bg object 21">
            <a:extLst>
              <a:ext uri="{FF2B5EF4-FFF2-40B4-BE49-F238E27FC236}">
                <a16:creationId xmlns:a16="http://schemas.microsoft.com/office/drawing/2014/main" id="{0BE13742-EAA6-92DD-0E53-F8961800267B}"/>
              </a:ext>
            </a:extLst>
          </p:cNvPr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8778226" y="11017713"/>
            <a:ext cx="146738" cy="190748"/>
          </a:xfrm>
          <a:prstGeom prst="rect">
            <a:avLst/>
          </a:prstGeom>
        </p:spPr>
      </p:pic>
      <p:sp>
        <p:nvSpPr>
          <p:cNvPr id="13" name="bg object 22">
            <a:extLst>
              <a:ext uri="{FF2B5EF4-FFF2-40B4-BE49-F238E27FC236}">
                <a16:creationId xmlns:a16="http://schemas.microsoft.com/office/drawing/2014/main" id="{2005A51B-8C04-2972-1731-918B2933AF07}"/>
              </a:ext>
            </a:extLst>
          </p:cNvPr>
          <p:cNvSpPr/>
          <p:nvPr userDrawn="1"/>
        </p:nvSpPr>
        <p:spPr>
          <a:xfrm>
            <a:off x="18952884" y="11020512"/>
            <a:ext cx="109855" cy="185420"/>
          </a:xfrm>
          <a:custGeom>
            <a:avLst/>
            <a:gdLst/>
            <a:ahLst/>
            <a:cxnLst/>
            <a:rect l="l" t="t" r="r" b="b"/>
            <a:pathLst>
              <a:path w="109855" h="185420">
                <a:moveTo>
                  <a:pt x="109601" y="0"/>
                </a:moveTo>
                <a:lnTo>
                  <a:pt x="0" y="0"/>
                </a:lnTo>
                <a:lnTo>
                  <a:pt x="0" y="40640"/>
                </a:lnTo>
                <a:lnTo>
                  <a:pt x="0" y="69850"/>
                </a:lnTo>
                <a:lnTo>
                  <a:pt x="0" y="109220"/>
                </a:lnTo>
                <a:lnTo>
                  <a:pt x="0" y="144780"/>
                </a:lnTo>
                <a:lnTo>
                  <a:pt x="0" y="185420"/>
                </a:lnTo>
                <a:lnTo>
                  <a:pt x="109601" y="185420"/>
                </a:lnTo>
                <a:lnTo>
                  <a:pt x="109601" y="144780"/>
                </a:lnTo>
                <a:lnTo>
                  <a:pt x="49885" y="144780"/>
                </a:lnTo>
                <a:lnTo>
                  <a:pt x="49885" y="109220"/>
                </a:lnTo>
                <a:lnTo>
                  <a:pt x="105181" y="109220"/>
                </a:lnTo>
                <a:lnTo>
                  <a:pt x="105181" y="69850"/>
                </a:lnTo>
                <a:lnTo>
                  <a:pt x="49885" y="69850"/>
                </a:lnTo>
                <a:lnTo>
                  <a:pt x="49885" y="40640"/>
                </a:lnTo>
                <a:lnTo>
                  <a:pt x="109601" y="40640"/>
                </a:lnTo>
                <a:lnTo>
                  <a:pt x="109601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4" name="bg object 23">
            <a:extLst>
              <a:ext uri="{FF2B5EF4-FFF2-40B4-BE49-F238E27FC236}">
                <a16:creationId xmlns:a16="http://schemas.microsoft.com/office/drawing/2014/main" id="{EF67F073-FED6-6ABD-0A9C-52955774F1E7}"/>
              </a:ext>
            </a:extLst>
          </p:cNvPr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8055059" y="11302723"/>
            <a:ext cx="235657" cy="180287"/>
          </a:xfrm>
          <a:prstGeom prst="rect">
            <a:avLst/>
          </a:prstGeom>
        </p:spPr>
      </p:pic>
      <p:sp>
        <p:nvSpPr>
          <p:cNvPr id="15" name="bg object 24">
            <a:extLst>
              <a:ext uri="{FF2B5EF4-FFF2-40B4-BE49-F238E27FC236}">
                <a16:creationId xmlns:a16="http://schemas.microsoft.com/office/drawing/2014/main" id="{D88B1423-B3FD-F89E-B4C7-C892B6BD1035}"/>
              </a:ext>
            </a:extLst>
          </p:cNvPr>
          <p:cNvSpPr/>
          <p:nvPr userDrawn="1"/>
        </p:nvSpPr>
        <p:spPr>
          <a:xfrm>
            <a:off x="18316233" y="11302681"/>
            <a:ext cx="362585" cy="180340"/>
          </a:xfrm>
          <a:custGeom>
            <a:avLst/>
            <a:gdLst/>
            <a:ahLst/>
            <a:cxnLst/>
            <a:rect l="l" t="t" r="r" b="b"/>
            <a:pathLst>
              <a:path w="362584" h="180340">
                <a:moveTo>
                  <a:pt x="29476" y="50"/>
                </a:moveTo>
                <a:lnTo>
                  <a:pt x="0" y="50"/>
                </a:lnTo>
                <a:lnTo>
                  <a:pt x="0" y="180340"/>
                </a:lnTo>
                <a:lnTo>
                  <a:pt x="29476" y="180340"/>
                </a:lnTo>
                <a:lnTo>
                  <a:pt x="29476" y="50"/>
                </a:lnTo>
                <a:close/>
              </a:path>
              <a:path w="362584" h="180340">
                <a:moveTo>
                  <a:pt x="192379" y="0"/>
                </a:moveTo>
                <a:lnTo>
                  <a:pt x="56845" y="0"/>
                </a:lnTo>
                <a:lnTo>
                  <a:pt x="56845" y="25400"/>
                </a:lnTo>
                <a:lnTo>
                  <a:pt x="109880" y="25400"/>
                </a:lnTo>
                <a:lnTo>
                  <a:pt x="109880" y="180340"/>
                </a:lnTo>
                <a:lnTo>
                  <a:pt x="139344" y="180340"/>
                </a:lnTo>
                <a:lnTo>
                  <a:pt x="139344" y="25400"/>
                </a:lnTo>
                <a:lnTo>
                  <a:pt x="192379" y="25400"/>
                </a:lnTo>
                <a:lnTo>
                  <a:pt x="192379" y="0"/>
                </a:lnTo>
                <a:close/>
              </a:path>
              <a:path w="362584" h="180340">
                <a:moveTo>
                  <a:pt x="362191" y="0"/>
                </a:moveTo>
                <a:lnTo>
                  <a:pt x="332587" y="0"/>
                </a:lnTo>
                <a:lnTo>
                  <a:pt x="332587" y="73660"/>
                </a:lnTo>
                <a:lnTo>
                  <a:pt x="249478" y="73660"/>
                </a:lnTo>
                <a:lnTo>
                  <a:pt x="249478" y="0"/>
                </a:lnTo>
                <a:lnTo>
                  <a:pt x="220002" y="0"/>
                </a:lnTo>
                <a:lnTo>
                  <a:pt x="220002" y="73660"/>
                </a:lnTo>
                <a:lnTo>
                  <a:pt x="220002" y="99060"/>
                </a:lnTo>
                <a:lnTo>
                  <a:pt x="220002" y="180340"/>
                </a:lnTo>
                <a:lnTo>
                  <a:pt x="249478" y="180340"/>
                </a:lnTo>
                <a:lnTo>
                  <a:pt x="249478" y="99060"/>
                </a:lnTo>
                <a:lnTo>
                  <a:pt x="332587" y="99060"/>
                </a:lnTo>
                <a:lnTo>
                  <a:pt x="332587" y="180340"/>
                </a:lnTo>
                <a:lnTo>
                  <a:pt x="362191" y="180340"/>
                </a:lnTo>
                <a:lnTo>
                  <a:pt x="362191" y="99060"/>
                </a:lnTo>
                <a:lnTo>
                  <a:pt x="362191" y="73660"/>
                </a:lnTo>
                <a:lnTo>
                  <a:pt x="362191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6" name="bg object 25">
            <a:extLst>
              <a:ext uri="{FF2B5EF4-FFF2-40B4-BE49-F238E27FC236}">
                <a16:creationId xmlns:a16="http://schemas.microsoft.com/office/drawing/2014/main" id="{78105159-B21E-A232-298C-524509D20324}"/>
              </a:ext>
            </a:extLst>
          </p:cNvPr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8717022" y="11299886"/>
            <a:ext cx="168947" cy="185596"/>
          </a:xfrm>
          <a:prstGeom prst="rect">
            <a:avLst/>
          </a:prstGeom>
        </p:spPr>
      </p:pic>
      <p:pic>
        <p:nvPicPr>
          <p:cNvPr id="17" name="bg object 26">
            <a:extLst>
              <a:ext uri="{FF2B5EF4-FFF2-40B4-BE49-F238E27FC236}">
                <a16:creationId xmlns:a16="http://schemas.microsoft.com/office/drawing/2014/main" id="{3E355ADF-3BF9-A7FF-B31D-1135FA423115}"/>
              </a:ext>
            </a:extLst>
          </p:cNvPr>
          <p:cNvPicPr/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8923085" y="11302724"/>
            <a:ext cx="142927" cy="182758"/>
          </a:xfrm>
          <a:prstGeom prst="rect">
            <a:avLst/>
          </a:prstGeom>
        </p:spPr>
      </p:pic>
      <p:sp>
        <p:nvSpPr>
          <p:cNvPr id="18" name="bg object 27">
            <a:extLst>
              <a:ext uri="{FF2B5EF4-FFF2-40B4-BE49-F238E27FC236}">
                <a16:creationId xmlns:a16="http://schemas.microsoft.com/office/drawing/2014/main" id="{A8CE7AB9-BAD5-D2EE-D40C-504E87C00F41}"/>
              </a:ext>
            </a:extLst>
          </p:cNvPr>
          <p:cNvSpPr/>
          <p:nvPr userDrawn="1"/>
        </p:nvSpPr>
        <p:spPr>
          <a:xfrm>
            <a:off x="19091898" y="11302681"/>
            <a:ext cx="135890" cy="180340"/>
          </a:xfrm>
          <a:custGeom>
            <a:avLst/>
            <a:gdLst/>
            <a:ahLst/>
            <a:cxnLst/>
            <a:rect l="l" t="t" r="r" b="b"/>
            <a:pathLst>
              <a:path w="135890" h="180340">
                <a:moveTo>
                  <a:pt x="135534" y="0"/>
                </a:moveTo>
                <a:lnTo>
                  <a:pt x="0" y="0"/>
                </a:lnTo>
                <a:lnTo>
                  <a:pt x="0" y="25400"/>
                </a:lnTo>
                <a:lnTo>
                  <a:pt x="53022" y="25400"/>
                </a:lnTo>
                <a:lnTo>
                  <a:pt x="53022" y="180340"/>
                </a:lnTo>
                <a:lnTo>
                  <a:pt x="82499" y="180340"/>
                </a:lnTo>
                <a:lnTo>
                  <a:pt x="82499" y="25400"/>
                </a:lnTo>
                <a:lnTo>
                  <a:pt x="135534" y="25400"/>
                </a:lnTo>
                <a:lnTo>
                  <a:pt x="1355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19" name="bg object 28">
            <a:extLst>
              <a:ext uri="{FF2B5EF4-FFF2-40B4-BE49-F238E27FC236}">
                <a16:creationId xmlns:a16="http://schemas.microsoft.com/office/drawing/2014/main" id="{11F831B3-FEFA-79A5-BC77-2E48D859DEBD}"/>
              </a:ext>
            </a:extLst>
          </p:cNvPr>
          <p:cNvSpPr/>
          <p:nvPr userDrawn="1"/>
        </p:nvSpPr>
        <p:spPr>
          <a:xfrm>
            <a:off x="18065725" y="11566511"/>
            <a:ext cx="142875" cy="180975"/>
          </a:xfrm>
          <a:custGeom>
            <a:avLst/>
            <a:gdLst/>
            <a:ahLst/>
            <a:cxnLst/>
            <a:rect l="l" t="t" r="r" b="b"/>
            <a:pathLst>
              <a:path w="142875" h="180975">
                <a:moveTo>
                  <a:pt x="98767" y="169303"/>
                </a:moveTo>
                <a:lnTo>
                  <a:pt x="12598" y="169303"/>
                </a:lnTo>
                <a:lnTo>
                  <a:pt x="12598" y="393"/>
                </a:lnTo>
                <a:lnTo>
                  <a:pt x="0" y="393"/>
                </a:lnTo>
                <a:lnTo>
                  <a:pt x="0" y="169303"/>
                </a:lnTo>
                <a:lnTo>
                  <a:pt x="0" y="180733"/>
                </a:lnTo>
                <a:lnTo>
                  <a:pt x="98767" y="180733"/>
                </a:lnTo>
                <a:lnTo>
                  <a:pt x="98767" y="169303"/>
                </a:lnTo>
                <a:close/>
              </a:path>
              <a:path w="142875" h="180975">
                <a:moveTo>
                  <a:pt x="142532" y="0"/>
                </a:moveTo>
                <a:lnTo>
                  <a:pt x="129921" y="0"/>
                </a:lnTo>
                <a:lnTo>
                  <a:pt x="129921" y="180733"/>
                </a:lnTo>
                <a:lnTo>
                  <a:pt x="142532" y="180733"/>
                </a:lnTo>
                <a:lnTo>
                  <a:pt x="142532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0" name="bg object 29">
            <a:extLst>
              <a:ext uri="{FF2B5EF4-FFF2-40B4-BE49-F238E27FC236}">
                <a16:creationId xmlns:a16="http://schemas.microsoft.com/office/drawing/2014/main" id="{F53E39D2-0480-F669-8E05-38FC9E367239}"/>
              </a:ext>
            </a:extLst>
          </p:cNvPr>
          <p:cNvSpPr/>
          <p:nvPr userDrawn="1"/>
        </p:nvSpPr>
        <p:spPr>
          <a:xfrm>
            <a:off x="18235080" y="11566511"/>
            <a:ext cx="170180" cy="180975"/>
          </a:xfrm>
          <a:custGeom>
            <a:avLst/>
            <a:gdLst/>
            <a:ahLst/>
            <a:cxnLst/>
            <a:rect l="l" t="t" r="r" b="b"/>
            <a:pathLst>
              <a:path w="170180" h="180975">
                <a:moveTo>
                  <a:pt x="130175" y="393"/>
                </a:moveTo>
                <a:lnTo>
                  <a:pt x="0" y="393"/>
                </a:lnTo>
                <a:lnTo>
                  <a:pt x="0" y="11823"/>
                </a:lnTo>
                <a:lnTo>
                  <a:pt x="58724" y="11823"/>
                </a:lnTo>
                <a:lnTo>
                  <a:pt x="58724" y="180733"/>
                </a:lnTo>
                <a:lnTo>
                  <a:pt x="71450" y="180733"/>
                </a:lnTo>
                <a:lnTo>
                  <a:pt x="71450" y="11823"/>
                </a:lnTo>
                <a:lnTo>
                  <a:pt x="130175" y="11823"/>
                </a:lnTo>
                <a:lnTo>
                  <a:pt x="130175" y="393"/>
                </a:lnTo>
                <a:close/>
              </a:path>
              <a:path w="170180" h="180975">
                <a:moveTo>
                  <a:pt x="169608" y="0"/>
                </a:moveTo>
                <a:lnTo>
                  <a:pt x="156997" y="0"/>
                </a:lnTo>
                <a:lnTo>
                  <a:pt x="156997" y="180733"/>
                </a:lnTo>
                <a:lnTo>
                  <a:pt x="169608" y="180733"/>
                </a:lnTo>
                <a:lnTo>
                  <a:pt x="169608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21" name="bg object 30">
            <a:extLst>
              <a:ext uri="{FF2B5EF4-FFF2-40B4-BE49-F238E27FC236}">
                <a16:creationId xmlns:a16="http://schemas.microsoft.com/office/drawing/2014/main" id="{C9D0AAA8-ECE5-1FFE-A98C-2F18C1B133DA}"/>
              </a:ext>
            </a:extLst>
          </p:cNvPr>
          <p:cNvPicPr/>
          <p:nvPr userDrawn="1"/>
        </p:nvPicPr>
        <p:blipFill>
          <a:blip r:embed="rId9" cstate="print"/>
          <a:stretch>
            <a:fillRect/>
          </a:stretch>
        </p:blipFill>
        <p:spPr>
          <a:xfrm>
            <a:off x="18446220" y="11563659"/>
            <a:ext cx="147367" cy="186046"/>
          </a:xfrm>
          <a:prstGeom prst="rect">
            <a:avLst/>
          </a:prstGeom>
        </p:spPr>
      </p:pic>
      <p:pic>
        <p:nvPicPr>
          <p:cNvPr id="22" name="bg object 31">
            <a:extLst>
              <a:ext uri="{FF2B5EF4-FFF2-40B4-BE49-F238E27FC236}">
                <a16:creationId xmlns:a16="http://schemas.microsoft.com/office/drawing/2014/main" id="{06794A5F-D652-3A94-F572-24A7E23EDC75}"/>
              </a:ext>
            </a:extLst>
          </p:cNvPr>
          <p:cNvPicPr/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18613357" y="11565767"/>
            <a:ext cx="283342" cy="181470"/>
          </a:xfrm>
          <a:prstGeom prst="rect">
            <a:avLst/>
          </a:prstGeom>
        </p:spPr>
      </p:pic>
      <p:sp>
        <p:nvSpPr>
          <p:cNvPr id="23" name="bg object 32">
            <a:extLst>
              <a:ext uri="{FF2B5EF4-FFF2-40B4-BE49-F238E27FC236}">
                <a16:creationId xmlns:a16="http://schemas.microsoft.com/office/drawing/2014/main" id="{933C6275-E000-E19F-7E10-7C79BE6098CF}"/>
              </a:ext>
            </a:extLst>
          </p:cNvPr>
          <p:cNvSpPr/>
          <p:nvPr userDrawn="1"/>
        </p:nvSpPr>
        <p:spPr>
          <a:xfrm>
            <a:off x="18923528" y="11566506"/>
            <a:ext cx="12700" cy="180975"/>
          </a:xfrm>
          <a:custGeom>
            <a:avLst/>
            <a:gdLst/>
            <a:ahLst/>
            <a:cxnLst/>
            <a:rect l="l" t="t" r="r" b="b"/>
            <a:pathLst>
              <a:path w="12700" h="180975">
                <a:moveTo>
                  <a:pt x="12606" y="0"/>
                </a:moveTo>
                <a:lnTo>
                  <a:pt x="0" y="0"/>
                </a:lnTo>
                <a:lnTo>
                  <a:pt x="0" y="180727"/>
                </a:lnTo>
                <a:lnTo>
                  <a:pt x="12606" y="180727"/>
                </a:lnTo>
                <a:lnTo>
                  <a:pt x="12606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24" name="bg object 33">
            <a:extLst>
              <a:ext uri="{FF2B5EF4-FFF2-40B4-BE49-F238E27FC236}">
                <a16:creationId xmlns:a16="http://schemas.microsoft.com/office/drawing/2014/main" id="{5CBA20EB-B60D-60F4-F27A-1FADF9A2F474}"/>
              </a:ext>
            </a:extLst>
          </p:cNvPr>
          <p:cNvPicPr/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18977667" y="11563661"/>
            <a:ext cx="161576" cy="186046"/>
          </a:xfrm>
          <a:prstGeom prst="rect">
            <a:avLst/>
          </a:prstGeom>
        </p:spPr>
      </p:pic>
      <p:pic>
        <p:nvPicPr>
          <p:cNvPr id="25" name="bg object 34">
            <a:extLst>
              <a:ext uri="{FF2B5EF4-FFF2-40B4-BE49-F238E27FC236}">
                <a16:creationId xmlns:a16="http://schemas.microsoft.com/office/drawing/2014/main" id="{2047F3C0-D63D-D43E-0CAC-180201EB512A}"/>
              </a:ext>
            </a:extLst>
          </p:cNvPr>
          <p:cNvPicPr/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19180778" y="11566509"/>
            <a:ext cx="131409" cy="180727"/>
          </a:xfrm>
          <a:prstGeom prst="rect">
            <a:avLst/>
          </a:prstGeom>
        </p:spPr>
      </p:pic>
      <p:sp>
        <p:nvSpPr>
          <p:cNvPr id="26" name="bg object 35">
            <a:extLst>
              <a:ext uri="{FF2B5EF4-FFF2-40B4-BE49-F238E27FC236}">
                <a16:creationId xmlns:a16="http://schemas.microsoft.com/office/drawing/2014/main" id="{F5723638-BC20-C0C4-C0DE-5E9AFDB5791B}"/>
              </a:ext>
            </a:extLst>
          </p:cNvPr>
          <p:cNvSpPr/>
          <p:nvPr userDrawn="1"/>
        </p:nvSpPr>
        <p:spPr>
          <a:xfrm>
            <a:off x="17305002" y="11018376"/>
            <a:ext cx="513715" cy="76200"/>
          </a:xfrm>
          <a:custGeom>
            <a:avLst/>
            <a:gdLst/>
            <a:ahLst/>
            <a:cxnLst/>
            <a:rect l="l" t="t" r="r" b="b"/>
            <a:pathLst>
              <a:path w="513715" h="76200">
                <a:moveTo>
                  <a:pt x="513418" y="0"/>
                </a:moveTo>
                <a:lnTo>
                  <a:pt x="0" y="0"/>
                </a:lnTo>
                <a:lnTo>
                  <a:pt x="0" y="76050"/>
                </a:lnTo>
                <a:lnTo>
                  <a:pt x="513418" y="76050"/>
                </a:lnTo>
                <a:lnTo>
                  <a:pt x="513418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7" name="bg object 36">
            <a:extLst>
              <a:ext uri="{FF2B5EF4-FFF2-40B4-BE49-F238E27FC236}">
                <a16:creationId xmlns:a16="http://schemas.microsoft.com/office/drawing/2014/main" id="{C5E1DFFA-F7B8-586B-1F4E-12F591EC3F19}"/>
              </a:ext>
            </a:extLst>
          </p:cNvPr>
          <p:cNvSpPr/>
          <p:nvPr userDrawn="1"/>
        </p:nvSpPr>
        <p:spPr>
          <a:xfrm>
            <a:off x="497344" y="0"/>
            <a:ext cx="630555" cy="4417695"/>
          </a:xfrm>
          <a:custGeom>
            <a:avLst/>
            <a:gdLst/>
            <a:ahLst/>
            <a:cxnLst/>
            <a:rect l="l" t="t" r="r" b="b"/>
            <a:pathLst>
              <a:path w="630555" h="4417695">
                <a:moveTo>
                  <a:pt x="630242" y="4083639"/>
                </a:moveTo>
                <a:lnTo>
                  <a:pt x="630242" y="4073744"/>
                </a:lnTo>
                <a:lnTo>
                  <a:pt x="630106" y="4073859"/>
                </a:lnTo>
                <a:lnTo>
                  <a:pt x="629855" y="4074090"/>
                </a:lnTo>
                <a:lnTo>
                  <a:pt x="629855" y="0"/>
                </a:lnTo>
              </a:path>
              <a:path w="630555" h="4417695">
                <a:moveTo>
                  <a:pt x="2434" y="0"/>
                </a:moveTo>
                <a:lnTo>
                  <a:pt x="0" y="2699357"/>
                </a:lnTo>
                <a:lnTo>
                  <a:pt x="0" y="4417388"/>
                </a:lnTo>
                <a:lnTo>
                  <a:pt x="49735" y="4401593"/>
                </a:lnTo>
                <a:lnTo>
                  <a:pt x="98845" y="4384492"/>
                </a:lnTo>
                <a:lnTo>
                  <a:pt x="147304" y="4366102"/>
                </a:lnTo>
                <a:lnTo>
                  <a:pt x="195086" y="4346440"/>
                </a:lnTo>
                <a:lnTo>
                  <a:pt x="242168" y="4325523"/>
                </a:lnTo>
                <a:lnTo>
                  <a:pt x="288524" y="4303369"/>
                </a:lnTo>
                <a:lnTo>
                  <a:pt x="334129" y="4279994"/>
                </a:lnTo>
                <a:lnTo>
                  <a:pt x="378959" y="4255416"/>
                </a:lnTo>
                <a:lnTo>
                  <a:pt x="422987" y="4229652"/>
                </a:lnTo>
                <a:lnTo>
                  <a:pt x="466190" y="4202719"/>
                </a:lnTo>
                <a:lnTo>
                  <a:pt x="508541" y="4174634"/>
                </a:lnTo>
                <a:lnTo>
                  <a:pt x="550017" y="4145414"/>
                </a:lnTo>
                <a:lnTo>
                  <a:pt x="590593" y="4115077"/>
                </a:lnTo>
                <a:lnTo>
                  <a:pt x="630242" y="4083639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8" name="bg object 37">
            <a:extLst>
              <a:ext uri="{FF2B5EF4-FFF2-40B4-BE49-F238E27FC236}">
                <a16:creationId xmlns:a16="http://schemas.microsoft.com/office/drawing/2014/main" id="{55C16CC3-B9BA-F881-27E0-17D9871750A6}"/>
              </a:ext>
            </a:extLst>
          </p:cNvPr>
          <p:cNvSpPr/>
          <p:nvPr userDrawn="1"/>
        </p:nvSpPr>
        <p:spPr>
          <a:xfrm>
            <a:off x="15802178" y="448750"/>
            <a:ext cx="4302125" cy="677545"/>
          </a:xfrm>
          <a:custGeom>
            <a:avLst/>
            <a:gdLst/>
            <a:ahLst/>
            <a:cxnLst/>
            <a:rect l="l" t="t" r="r" b="b"/>
            <a:pathLst>
              <a:path w="4302125" h="677544">
                <a:moveTo>
                  <a:pt x="4301921" y="0"/>
                </a:moveTo>
                <a:lnTo>
                  <a:pt x="0" y="0"/>
                </a:lnTo>
                <a:lnTo>
                  <a:pt x="0" y="677036"/>
                </a:lnTo>
                <a:lnTo>
                  <a:pt x="4301921" y="67703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9" name="bg object 38">
            <a:extLst>
              <a:ext uri="{FF2B5EF4-FFF2-40B4-BE49-F238E27FC236}">
                <a16:creationId xmlns:a16="http://schemas.microsoft.com/office/drawing/2014/main" id="{C3D1904C-26F6-43AD-1132-5FE9797D539D}"/>
              </a:ext>
            </a:extLst>
          </p:cNvPr>
          <p:cNvSpPr/>
          <p:nvPr userDrawn="1"/>
        </p:nvSpPr>
        <p:spPr>
          <a:xfrm>
            <a:off x="15884111" y="10541781"/>
            <a:ext cx="4220210" cy="2306320"/>
          </a:xfrm>
          <a:custGeom>
            <a:avLst/>
            <a:gdLst/>
            <a:ahLst/>
            <a:cxnLst/>
            <a:rect l="l" t="t" r="r" b="b"/>
            <a:pathLst>
              <a:path w="4220209" h="2306320">
                <a:moveTo>
                  <a:pt x="4219988" y="815958"/>
                </a:moveTo>
                <a:lnTo>
                  <a:pt x="4191904" y="882755"/>
                </a:lnTo>
                <a:lnTo>
                  <a:pt x="4172368" y="925143"/>
                </a:lnTo>
                <a:lnTo>
                  <a:pt x="4151819" y="966953"/>
                </a:lnTo>
                <a:lnTo>
                  <a:pt x="4130274" y="1008168"/>
                </a:lnTo>
                <a:lnTo>
                  <a:pt x="4107749" y="1048774"/>
                </a:lnTo>
                <a:lnTo>
                  <a:pt x="4084260" y="1088754"/>
                </a:lnTo>
                <a:lnTo>
                  <a:pt x="4059821" y="1128093"/>
                </a:lnTo>
                <a:lnTo>
                  <a:pt x="4034449" y="1166773"/>
                </a:lnTo>
                <a:lnTo>
                  <a:pt x="4008160" y="1204781"/>
                </a:lnTo>
                <a:lnTo>
                  <a:pt x="3980969" y="1242098"/>
                </a:lnTo>
                <a:lnTo>
                  <a:pt x="3952893" y="1278711"/>
                </a:lnTo>
                <a:lnTo>
                  <a:pt x="3923946" y="1314603"/>
                </a:lnTo>
                <a:lnTo>
                  <a:pt x="3894144" y="1349757"/>
                </a:lnTo>
                <a:lnTo>
                  <a:pt x="3863505" y="1384159"/>
                </a:lnTo>
                <a:lnTo>
                  <a:pt x="3832042" y="1417791"/>
                </a:lnTo>
                <a:lnTo>
                  <a:pt x="3799772" y="1450639"/>
                </a:lnTo>
                <a:lnTo>
                  <a:pt x="3766711" y="1482687"/>
                </a:lnTo>
                <a:lnTo>
                  <a:pt x="3732874" y="1513918"/>
                </a:lnTo>
                <a:lnTo>
                  <a:pt x="3698277" y="1544317"/>
                </a:lnTo>
                <a:lnTo>
                  <a:pt x="3662937" y="1573867"/>
                </a:lnTo>
                <a:lnTo>
                  <a:pt x="3626868" y="1602554"/>
                </a:lnTo>
                <a:lnTo>
                  <a:pt x="3590086" y="1630360"/>
                </a:lnTo>
                <a:lnTo>
                  <a:pt x="3552607" y="1657271"/>
                </a:lnTo>
                <a:lnTo>
                  <a:pt x="3514448" y="1683270"/>
                </a:lnTo>
                <a:lnTo>
                  <a:pt x="3475623" y="1708341"/>
                </a:lnTo>
                <a:lnTo>
                  <a:pt x="3436148" y="1732468"/>
                </a:lnTo>
                <a:lnTo>
                  <a:pt x="3396040" y="1755637"/>
                </a:lnTo>
                <a:lnTo>
                  <a:pt x="3355314" y="1777830"/>
                </a:lnTo>
                <a:lnTo>
                  <a:pt x="3313985" y="1799031"/>
                </a:lnTo>
                <a:lnTo>
                  <a:pt x="3272070" y="1819226"/>
                </a:lnTo>
                <a:lnTo>
                  <a:pt x="3229584" y="1838398"/>
                </a:lnTo>
                <a:lnTo>
                  <a:pt x="3186543" y="1856530"/>
                </a:lnTo>
                <a:lnTo>
                  <a:pt x="3142962" y="1873609"/>
                </a:lnTo>
                <a:lnTo>
                  <a:pt x="3098858" y="1889616"/>
                </a:lnTo>
                <a:lnTo>
                  <a:pt x="3054247" y="1904537"/>
                </a:lnTo>
                <a:lnTo>
                  <a:pt x="3009143" y="1918356"/>
                </a:lnTo>
                <a:lnTo>
                  <a:pt x="2963563" y="1931056"/>
                </a:lnTo>
                <a:lnTo>
                  <a:pt x="2917522" y="1942622"/>
                </a:lnTo>
                <a:lnTo>
                  <a:pt x="2871037" y="1953038"/>
                </a:lnTo>
                <a:lnTo>
                  <a:pt x="2824123" y="1962288"/>
                </a:lnTo>
                <a:lnTo>
                  <a:pt x="2776795" y="1970357"/>
                </a:lnTo>
                <a:lnTo>
                  <a:pt x="2729070" y="1977227"/>
                </a:lnTo>
                <a:lnTo>
                  <a:pt x="2680963" y="1982885"/>
                </a:lnTo>
                <a:lnTo>
                  <a:pt x="2632491" y="1987312"/>
                </a:lnTo>
                <a:lnTo>
                  <a:pt x="2583668" y="1990494"/>
                </a:lnTo>
                <a:lnTo>
                  <a:pt x="2534510" y="1992415"/>
                </a:lnTo>
                <a:lnTo>
                  <a:pt x="2485034" y="1993059"/>
                </a:lnTo>
                <a:lnTo>
                  <a:pt x="2436764" y="1992447"/>
                </a:lnTo>
                <a:lnTo>
                  <a:pt x="2388796" y="1990619"/>
                </a:lnTo>
                <a:lnTo>
                  <a:pt x="2341143" y="1987591"/>
                </a:lnTo>
                <a:lnTo>
                  <a:pt x="2293821" y="1983377"/>
                </a:lnTo>
                <a:lnTo>
                  <a:pt x="2246844" y="1977992"/>
                </a:lnTo>
                <a:lnTo>
                  <a:pt x="2200227" y="1971450"/>
                </a:lnTo>
                <a:lnTo>
                  <a:pt x="2153985" y="1963767"/>
                </a:lnTo>
                <a:lnTo>
                  <a:pt x="2108132" y="1954958"/>
                </a:lnTo>
                <a:lnTo>
                  <a:pt x="2062683" y="1945036"/>
                </a:lnTo>
                <a:lnTo>
                  <a:pt x="2017652" y="1934016"/>
                </a:lnTo>
                <a:lnTo>
                  <a:pt x="1973055" y="1921914"/>
                </a:lnTo>
                <a:lnTo>
                  <a:pt x="1928906" y="1908745"/>
                </a:lnTo>
                <a:lnTo>
                  <a:pt x="1885220" y="1894521"/>
                </a:lnTo>
                <a:lnTo>
                  <a:pt x="1842011" y="1879260"/>
                </a:lnTo>
                <a:lnTo>
                  <a:pt x="1799294" y="1862975"/>
                </a:lnTo>
                <a:lnTo>
                  <a:pt x="1757084" y="1845680"/>
                </a:lnTo>
                <a:lnTo>
                  <a:pt x="1715395" y="1827392"/>
                </a:lnTo>
                <a:lnTo>
                  <a:pt x="1674242" y="1808123"/>
                </a:lnTo>
                <a:lnTo>
                  <a:pt x="1633641" y="1787890"/>
                </a:lnTo>
                <a:lnTo>
                  <a:pt x="1593605" y="1766707"/>
                </a:lnTo>
                <a:lnTo>
                  <a:pt x="1554149" y="1744589"/>
                </a:lnTo>
                <a:lnTo>
                  <a:pt x="1515288" y="1721550"/>
                </a:lnTo>
                <a:lnTo>
                  <a:pt x="1477037" y="1697605"/>
                </a:lnTo>
                <a:lnTo>
                  <a:pt x="1439410" y="1672769"/>
                </a:lnTo>
                <a:lnTo>
                  <a:pt x="1402422" y="1647056"/>
                </a:lnTo>
                <a:lnTo>
                  <a:pt x="1366087" y="1620482"/>
                </a:lnTo>
                <a:lnTo>
                  <a:pt x="1330421" y="1593060"/>
                </a:lnTo>
                <a:lnTo>
                  <a:pt x="1295438" y="1564807"/>
                </a:lnTo>
                <a:lnTo>
                  <a:pt x="1261153" y="1535736"/>
                </a:lnTo>
                <a:lnTo>
                  <a:pt x="1227580" y="1505862"/>
                </a:lnTo>
                <a:lnTo>
                  <a:pt x="1194734" y="1475200"/>
                </a:lnTo>
                <a:lnTo>
                  <a:pt x="1162630" y="1443764"/>
                </a:lnTo>
                <a:lnTo>
                  <a:pt x="1131283" y="1411570"/>
                </a:lnTo>
                <a:lnTo>
                  <a:pt x="1100707" y="1378633"/>
                </a:lnTo>
                <a:lnTo>
                  <a:pt x="1070916" y="1344966"/>
                </a:lnTo>
                <a:lnTo>
                  <a:pt x="1041926" y="1310584"/>
                </a:lnTo>
                <a:lnTo>
                  <a:pt x="1013752" y="1275503"/>
                </a:lnTo>
                <a:lnTo>
                  <a:pt x="986407" y="1239737"/>
                </a:lnTo>
                <a:lnTo>
                  <a:pt x="959907" y="1203301"/>
                </a:lnTo>
                <a:lnTo>
                  <a:pt x="934266" y="1166209"/>
                </a:lnTo>
                <a:lnTo>
                  <a:pt x="909500" y="1128476"/>
                </a:lnTo>
                <a:lnTo>
                  <a:pt x="885621" y="1090118"/>
                </a:lnTo>
                <a:lnTo>
                  <a:pt x="862647" y="1051148"/>
                </a:lnTo>
                <a:lnTo>
                  <a:pt x="840590" y="1011581"/>
                </a:lnTo>
                <a:lnTo>
                  <a:pt x="819466" y="971433"/>
                </a:lnTo>
                <a:lnTo>
                  <a:pt x="799290" y="930717"/>
                </a:lnTo>
                <a:lnTo>
                  <a:pt x="780076" y="889449"/>
                </a:lnTo>
                <a:lnTo>
                  <a:pt x="761838" y="847644"/>
                </a:lnTo>
                <a:lnTo>
                  <a:pt x="744592" y="805315"/>
                </a:lnTo>
                <a:lnTo>
                  <a:pt x="728352" y="762479"/>
                </a:lnTo>
                <a:lnTo>
                  <a:pt x="713133" y="719148"/>
                </a:lnTo>
                <a:lnTo>
                  <a:pt x="698950" y="675339"/>
                </a:lnTo>
                <a:lnTo>
                  <a:pt x="685817" y="631066"/>
                </a:lnTo>
                <a:lnTo>
                  <a:pt x="673749" y="586344"/>
                </a:lnTo>
                <a:lnTo>
                  <a:pt x="662760" y="541187"/>
                </a:lnTo>
                <a:lnTo>
                  <a:pt x="652866" y="495610"/>
                </a:lnTo>
                <a:lnTo>
                  <a:pt x="644081" y="449629"/>
                </a:lnTo>
                <a:lnTo>
                  <a:pt x="636419" y="403256"/>
                </a:lnTo>
                <a:lnTo>
                  <a:pt x="629896" y="356509"/>
                </a:lnTo>
                <a:lnTo>
                  <a:pt x="624526" y="309400"/>
                </a:lnTo>
                <a:lnTo>
                  <a:pt x="620324" y="261945"/>
                </a:lnTo>
                <a:lnTo>
                  <a:pt x="617304" y="214159"/>
                </a:lnTo>
                <a:lnTo>
                  <a:pt x="615482" y="166055"/>
                </a:lnTo>
                <a:lnTo>
                  <a:pt x="614871" y="117650"/>
                </a:lnTo>
                <a:lnTo>
                  <a:pt x="615459" y="88007"/>
                </a:lnTo>
                <a:lnTo>
                  <a:pt x="616934" y="58593"/>
                </a:lnTo>
                <a:lnTo>
                  <a:pt x="618864" y="29295"/>
                </a:lnTo>
                <a:lnTo>
                  <a:pt x="620818" y="0"/>
                </a:lnTo>
                <a:lnTo>
                  <a:pt x="0" y="0"/>
                </a:lnTo>
                <a:lnTo>
                  <a:pt x="0" y="112425"/>
                </a:lnTo>
                <a:lnTo>
                  <a:pt x="462" y="160786"/>
                </a:lnTo>
                <a:lnTo>
                  <a:pt x="1844" y="208927"/>
                </a:lnTo>
                <a:lnTo>
                  <a:pt x="4137" y="256837"/>
                </a:lnTo>
                <a:lnTo>
                  <a:pt x="7333" y="304511"/>
                </a:lnTo>
                <a:lnTo>
                  <a:pt x="11422" y="351938"/>
                </a:lnTo>
                <a:lnTo>
                  <a:pt x="16398" y="399110"/>
                </a:lnTo>
                <a:lnTo>
                  <a:pt x="22251" y="446020"/>
                </a:lnTo>
                <a:lnTo>
                  <a:pt x="28973" y="492658"/>
                </a:lnTo>
                <a:lnTo>
                  <a:pt x="36555" y="539017"/>
                </a:lnTo>
                <a:lnTo>
                  <a:pt x="44990" y="585087"/>
                </a:lnTo>
                <a:lnTo>
                  <a:pt x="54268" y="630861"/>
                </a:lnTo>
                <a:lnTo>
                  <a:pt x="64382" y="676330"/>
                </a:lnTo>
                <a:lnTo>
                  <a:pt x="75322" y="721485"/>
                </a:lnTo>
                <a:lnTo>
                  <a:pt x="87081" y="766318"/>
                </a:lnTo>
                <a:lnTo>
                  <a:pt x="99650" y="810822"/>
                </a:lnTo>
                <a:lnTo>
                  <a:pt x="113021" y="854986"/>
                </a:lnTo>
                <a:lnTo>
                  <a:pt x="127185" y="898803"/>
                </a:lnTo>
                <a:lnTo>
                  <a:pt x="142133" y="942265"/>
                </a:lnTo>
                <a:lnTo>
                  <a:pt x="157858" y="985363"/>
                </a:lnTo>
                <a:lnTo>
                  <a:pt x="174351" y="1028088"/>
                </a:lnTo>
                <a:lnTo>
                  <a:pt x="191604" y="1070433"/>
                </a:lnTo>
                <a:lnTo>
                  <a:pt x="209607" y="1112388"/>
                </a:lnTo>
                <a:lnTo>
                  <a:pt x="228354" y="1153946"/>
                </a:lnTo>
                <a:lnTo>
                  <a:pt x="247835" y="1195098"/>
                </a:lnTo>
                <a:lnTo>
                  <a:pt x="268041" y="1235835"/>
                </a:lnTo>
                <a:lnTo>
                  <a:pt x="288965" y="1276149"/>
                </a:lnTo>
                <a:lnTo>
                  <a:pt x="310599" y="1316032"/>
                </a:lnTo>
                <a:lnTo>
                  <a:pt x="332932" y="1355475"/>
                </a:lnTo>
                <a:lnTo>
                  <a:pt x="355959" y="1394471"/>
                </a:lnTo>
                <a:lnTo>
                  <a:pt x="379668" y="1433009"/>
                </a:lnTo>
                <a:lnTo>
                  <a:pt x="404054" y="1471083"/>
                </a:lnTo>
                <a:lnTo>
                  <a:pt x="429106" y="1508683"/>
                </a:lnTo>
                <a:lnTo>
                  <a:pt x="454817" y="1545801"/>
                </a:lnTo>
                <a:lnTo>
                  <a:pt x="481178" y="1582429"/>
                </a:lnTo>
                <a:lnTo>
                  <a:pt x="508181" y="1618559"/>
                </a:lnTo>
                <a:lnTo>
                  <a:pt x="535817" y="1654181"/>
                </a:lnTo>
                <a:lnTo>
                  <a:pt x="564078" y="1689288"/>
                </a:lnTo>
                <a:lnTo>
                  <a:pt x="592956" y="1723871"/>
                </a:lnTo>
                <a:lnTo>
                  <a:pt x="622441" y="1757922"/>
                </a:lnTo>
                <a:lnTo>
                  <a:pt x="652527" y="1791432"/>
                </a:lnTo>
                <a:lnTo>
                  <a:pt x="683203" y="1824392"/>
                </a:lnTo>
                <a:lnTo>
                  <a:pt x="714463" y="1856796"/>
                </a:lnTo>
                <a:lnTo>
                  <a:pt x="746297" y="1888633"/>
                </a:lnTo>
                <a:lnTo>
                  <a:pt x="778697" y="1919895"/>
                </a:lnTo>
                <a:lnTo>
                  <a:pt x="811654" y="1950575"/>
                </a:lnTo>
                <a:lnTo>
                  <a:pt x="845161" y="1980664"/>
                </a:lnTo>
                <a:lnTo>
                  <a:pt x="879208" y="2010153"/>
                </a:lnTo>
                <a:lnTo>
                  <a:pt x="913788" y="2039033"/>
                </a:lnTo>
                <a:lnTo>
                  <a:pt x="948892" y="2067298"/>
                </a:lnTo>
                <a:lnTo>
                  <a:pt x="984511" y="2094937"/>
                </a:lnTo>
                <a:lnTo>
                  <a:pt x="1020637" y="2121943"/>
                </a:lnTo>
                <a:lnTo>
                  <a:pt x="1057262" y="2148307"/>
                </a:lnTo>
                <a:lnTo>
                  <a:pt x="1094378" y="2174021"/>
                </a:lnTo>
                <a:lnTo>
                  <a:pt x="1131975" y="2199077"/>
                </a:lnTo>
                <a:lnTo>
                  <a:pt x="1170046" y="2223465"/>
                </a:lnTo>
                <a:lnTo>
                  <a:pt x="1208582" y="2247178"/>
                </a:lnTo>
                <a:lnTo>
                  <a:pt x="1247574" y="2270207"/>
                </a:lnTo>
                <a:lnTo>
                  <a:pt x="1287014" y="2292544"/>
                </a:lnTo>
                <a:lnTo>
                  <a:pt x="1311807" y="2305994"/>
                </a:lnTo>
              </a:path>
              <a:path w="4220209" h="2306320">
                <a:moveTo>
                  <a:pt x="3669507" y="2305994"/>
                </a:moveTo>
                <a:lnTo>
                  <a:pt x="3733746" y="2270207"/>
                </a:lnTo>
                <a:lnTo>
                  <a:pt x="3772742" y="2247178"/>
                </a:lnTo>
                <a:lnTo>
                  <a:pt x="3811281" y="2223465"/>
                </a:lnTo>
                <a:lnTo>
                  <a:pt x="3849355" y="2199077"/>
                </a:lnTo>
                <a:lnTo>
                  <a:pt x="3886955" y="2174021"/>
                </a:lnTo>
                <a:lnTo>
                  <a:pt x="3924074" y="2148307"/>
                </a:lnTo>
                <a:lnTo>
                  <a:pt x="3960702" y="2121943"/>
                </a:lnTo>
                <a:lnTo>
                  <a:pt x="3996831" y="2094937"/>
                </a:lnTo>
                <a:lnTo>
                  <a:pt x="4032453" y="2067298"/>
                </a:lnTo>
                <a:lnTo>
                  <a:pt x="4067559" y="2039033"/>
                </a:lnTo>
                <a:lnTo>
                  <a:pt x="4102141" y="2010153"/>
                </a:lnTo>
                <a:lnTo>
                  <a:pt x="4136191" y="1980664"/>
                </a:lnTo>
                <a:lnTo>
                  <a:pt x="4169700" y="1950575"/>
                </a:lnTo>
                <a:lnTo>
                  <a:pt x="4202660" y="1919895"/>
                </a:lnTo>
                <a:lnTo>
                  <a:pt x="4219988" y="190317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30" name="Holder 6">
            <a:extLst>
              <a:ext uri="{FF2B5EF4-FFF2-40B4-BE49-F238E27FC236}">
                <a16:creationId xmlns:a16="http://schemas.microsoft.com/office/drawing/2014/main" id="{2C43E619-610C-6F51-0BA5-C289C7A6E2E2}"/>
              </a:ext>
            </a:extLst>
          </p:cNvPr>
          <p:cNvSpPr txBox="1">
            <a:spLocks/>
          </p:cNvSpPr>
          <p:nvPr userDrawn="1"/>
        </p:nvSpPr>
        <p:spPr>
          <a:xfrm>
            <a:off x="1689596" y="12106784"/>
            <a:ext cx="299085" cy="24828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1450" b="0" i="0" kern="1200">
                <a:solidFill>
                  <a:srgbClr val="A78A4C"/>
                </a:solidFill>
                <a:latin typeface="HelveticaNeue-Light"/>
                <a:ea typeface="+mn-ea"/>
                <a:cs typeface="HelveticaNeue-Ligh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85"/>
              </a:spcBef>
            </a:pPr>
            <a:fld id="{81D60167-4931-47E6-BA6A-407CBD079E47}" type="slidenum">
              <a:rPr lang="en-US" spc="15" smtClean="0"/>
              <a:pPr marL="38100">
                <a:spcBef>
                  <a:spcPts val="85"/>
                </a:spcBef>
              </a:pPr>
              <a:t>‹#›</a:t>
            </a:fld>
            <a:endParaRPr lang="en-US" spc="15" dirty="0"/>
          </a:p>
        </p:txBody>
      </p:sp>
    </p:spTree>
    <p:extLst>
      <p:ext uri="{BB962C8B-B14F-4D97-AF65-F5344CB8AC3E}">
        <p14:creationId xmlns:p14="http://schemas.microsoft.com/office/powerpoint/2010/main" val="310072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68EF5F-0F02-573D-421E-B693B49AE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87CB04-CA20-FE3A-48E9-ED75E5BA9D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382713" y="3421063"/>
            <a:ext cx="8593137" cy="81549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76DDBC-6C48-AA94-332D-6B464C4E77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128250" y="3421063"/>
            <a:ext cx="8593138" cy="81549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050798-2D23-602C-616C-7C8215709E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bg object 16">
            <a:extLst>
              <a:ext uri="{FF2B5EF4-FFF2-40B4-BE49-F238E27FC236}">
                <a16:creationId xmlns:a16="http://schemas.microsoft.com/office/drawing/2014/main" id="{B66BC452-501E-45A6-CF29-37902E5F7597}"/>
              </a:ext>
            </a:extLst>
          </p:cNvPr>
          <p:cNvSpPr/>
          <p:nvPr userDrawn="1"/>
        </p:nvSpPr>
        <p:spPr>
          <a:xfrm>
            <a:off x="17231199" y="11172070"/>
            <a:ext cx="587375" cy="579755"/>
          </a:xfrm>
          <a:custGeom>
            <a:avLst/>
            <a:gdLst/>
            <a:ahLst/>
            <a:cxnLst/>
            <a:rect l="l" t="t" r="r" b="b"/>
            <a:pathLst>
              <a:path w="587375" h="579754">
                <a:moveTo>
                  <a:pt x="587259" y="0"/>
                </a:moveTo>
                <a:lnTo>
                  <a:pt x="513460" y="0"/>
                </a:lnTo>
                <a:lnTo>
                  <a:pt x="513460" y="285687"/>
                </a:lnTo>
                <a:lnTo>
                  <a:pt x="507898" y="334898"/>
                </a:lnTo>
                <a:lnTo>
                  <a:pt x="492045" y="380220"/>
                </a:lnTo>
                <a:lnTo>
                  <a:pt x="467148" y="420422"/>
                </a:lnTo>
                <a:lnTo>
                  <a:pt x="434457" y="454279"/>
                </a:lnTo>
                <a:lnTo>
                  <a:pt x="434457" y="0"/>
                </a:lnTo>
                <a:lnTo>
                  <a:pt x="358407" y="0"/>
                </a:lnTo>
                <a:lnTo>
                  <a:pt x="358407" y="495754"/>
                </a:lnTo>
                <a:lnTo>
                  <a:pt x="342810" y="499947"/>
                </a:lnTo>
                <a:lnTo>
                  <a:pt x="326785" y="503005"/>
                </a:lnTo>
                <a:lnTo>
                  <a:pt x="310376" y="504877"/>
                </a:lnTo>
                <a:lnTo>
                  <a:pt x="293624" y="505513"/>
                </a:lnTo>
                <a:lnTo>
                  <a:pt x="249374" y="501039"/>
                </a:lnTo>
                <a:lnTo>
                  <a:pt x="208134" y="488212"/>
                </a:lnTo>
                <a:lnTo>
                  <a:pt x="170795" y="467921"/>
                </a:lnTo>
                <a:lnTo>
                  <a:pt x="138248" y="441058"/>
                </a:lnTo>
                <a:lnTo>
                  <a:pt x="111383" y="408513"/>
                </a:lnTo>
                <a:lnTo>
                  <a:pt x="91090" y="371175"/>
                </a:lnTo>
                <a:lnTo>
                  <a:pt x="78262" y="329937"/>
                </a:lnTo>
                <a:lnTo>
                  <a:pt x="73788" y="285687"/>
                </a:lnTo>
                <a:lnTo>
                  <a:pt x="73788" y="272431"/>
                </a:lnTo>
                <a:lnTo>
                  <a:pt x="0" y="272431"/>
                </a:lnTo>
                <a:lnTo>
                  <a:pt x="0" y="285687"/>
                </a:lnTo>
                <a:lnTo>
                  <a:pt x="3850" y="333251"/>
                </a:lnTo>
                <a:lnTo>
                  <a:pt x="14995" y="378394"/>
                </a:lnTo>
                <a:lnTo>
                  <a:pt x="32825" y="420508"/>
                </a:lnTo>
                <a:lnTo>
                  <a:pt x="56731" y="458984"/>
                </a:lnTo>
                <a:lnTo>
                  <a:pt x="86103" y="493212"/>
                </a:lnTo>
                <a:lnTo>
                  <a:pt x="120332" y="522583"/>
                </a:lnTo>
                <a:lnTo>
                  <a:pt x="158808" y="546488"/>
                </a:lnTo>
                <a:lnTo>
                  <a:pt x="200921" y="564317"/>
                </a:lnTo>
                <a:lnTo>
                  <a:pt x="246063" y="575462"/>
                </a:lnTo>
                <a:lnTo>
                  <a:pt x="293624" y="579312"/>
                </a:lnTo>
                <a:lnTo>
                  <a:pt x="341190" y="575462"/>
                </a:lnTo>
                <a:lnTo>
                  <a:pt x="386336" y="564317"/>
                </a:lnTo>
                <a:lnTo>
                  <a:pt x="428452" y="546488"/>
                </a:lnTo>
                <a:lnTo>
                  <a:pt x="466929" y="522583"/>
                </a:lnTo>
                <a:lnTo>
                  <a:pt x="501158" y="493212"/>
                </a:lnTo>
                <a:lnTo>
                  <a:pt x="530530" y="458984"/>
                </a:lnTo>
                <a:lnTo>
                  <a:pt x="554435" y="420508"/>
                </a:lnTo>
                <a:lnTo>
                  <a:pt x="572265" y="378394"/>
                </a:lnTo>
                <a:lnTo>
                  <a:pt x="583409" y="333251"/>
                </a:lnTo>
                <a:lnTo>
                  <a:pt x="587259" y="285687"/>
                </a:lnTo>
                <a:lnTo>
                  <a:pt x="587259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9" name="bg object 17">
            <a:extLst>
              <a:ext uri="{FF2B5EF4-FFF2-40B4-BE49-F238E27FC236}">
                <a16:creationId xmlns:a16="http://schemas.microsoft.com/office/drawing/2014/main" id="{1150FC0A-ABA3-4D6B-264A-9B94E5195F66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8065731" y="11020372"/>
            <a:ext cx="91557" cy="243814"/>
          </a:xfrm>
          <a:prstGeom prst="rect">
            <a:avLst/>
          </a:prstGeom>
        </p:spPr>
      </p:pic>
      <p:pic>
        <p:nvPicPr>
          <p:cNvPr id="10" name="bg object 18">
            <a:extLst>
              <a:ext uri="{FF2B5EF4-FFF2-40B4-BE49-F238E27FC236}">
                <a16:creationId xmlns:a16="http://schemas.microsoft.com/office/drawing/2014/main" id="{E297BBCA-D55F-3D41-5F33-5C8FDC6CCAC6}"/>
              </a:ext>
            </a:extLst>
          </p:cNvPr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8196176" y="11020373"/>
            <a:ext cx="157984" cy="188088"/>
          </a:xfrm>
          <a:prstGeom prst="rect">
            <a:avLst/>
          </a:prstGeom>
        </p:spPr>
      </p:pic>
      <p:pic>
        <p:nvPicPr>
          <p:cNvPr id="11" name="bg object 19">
            <a:extLst>
              <a:ext uri="{FF2B5EF4-FFF2-40B4-BE49-F238E27FC236}">
                <a16:creationId xmlns:a16="http://schemas.microsoft.com/office/drawing/2014/main" id="{716AF6C1-A540-046D-70F1-FB15429CC1D9}"/>
              </a:ext>
            </a:extLst>
          </p:cNvPr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8384343" y="11017713"/>
            <a:ext cx="284270" cy="190748"/>
          </a:xfrm>
          <a:prstGeom prst="rect">
            <a:avLst/>
          </a:prstGeom>
        </p:spPr>
      </p:pic>
      <p:sp>
        <p:nvSpPr>
          <p:cNvPr id="12" name="bg object 20">
            <a:extLst>
              <a:ext uri="{FF2B5EF4-FFF2-40B4-BE49-F238E27FC236}">
                <a16:creationId xmlns:a16="http://schemas.microsoft.com/office/drawing/2014/main" id="{4EFCBE5B-3A12-A164-2242-810BEDCB7871}"/>
              </a:ext>
            </a:extLst>
          </p:cNvPr>
          <p:cNvSpPr/>
          <p:nvPr userDrawn="1"/>
        </p:nvSpPr>
        <p:spPr>
          <a:xfrm>
            <a:off x="18695001" y="11020376"/>
            <a:ext cx="50165" cy="186055"/>
          </a:xfrm>
          <a:custGeom>
            <a:avLst/>
            <a:gdLst/>
            <a:ahLst/>
            <a:cxnLst/>
            <a:rect l="l" t="t" r="r" b="b"/>
            <a:pathLst>
              <a:path w="50165" h="186054">
                <a:moveTo>
                  <a:pt x="50134" y="0"/>
                </a:moveTo>
                <a:lnTo>
                  <a:pt x="0" y="0"/>
                </a:lnTo>
                <a:lnTo>
                  <a:pt x="0" y="185554"/>
                </a:lnTo>
                <a:lnTo>
                  <a:pt x="50134" y="185554"/>
                </a:lnTo>
                <a:lnTo>
                  <a:pt x="501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3" name="bg object 21">
            <a:extLst>
              <a:ext uri="{FF2B5EF4-FFF2-40B4-BE49-F238E27FC236}">
                <a16:creationId xmlns:a16="http://schemas.microsoft.com/office/drawing/2014/main" id="{199FC0C2-D3DD-C79F-6242-5F57ED53AB44}"/>
              </a:ext>
            </a:extLst>
          </p:cNvPr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8778226" y="11017713"/>
            <a:ext cx="146738" cy="190748"/>
          </a:xfrm>
          <a:prstGeom prst="rect">
            <a:avLst/>
          </a:prstGeom>
        </p:spPr>
      </p:pic>
      <p:sp>
        <p:nvSpPr>
          <p:cNvPr id="14" name="bg object 22">
            <a:extLst>
              <a:ext uri="{FF2B5EF4-FFF2-40B4-BE49-F238E27FC236}">
                <a16:creationId xmlns:a16="http://schemas.microsoft.com/office/drawing/2014/main" id="{AEA152F2-E39B-E205-8D2C-DA0B2C8F739B}"/>
              </a:ext>
            </a:extLst>
          </p:cNvPr>
          <p:cNvSpPr/>
          <p:nvPr userDrawn="1"/>
        </p:nvSpPr>
        <p:spPr>
          <a:xfrm>
            <a:off x="18952884" y="11020512"/>
            <a:ext cx="109855" cy="185420"/>
          </a:xfrm>
          <a:custGeom>
            <a:avLst/>
            <a:gdLst/>
            <a:ahLst/>
            <a:cxnLst/>
            <a:rect l="l" t="t" r="r" b="b"/>
            <a:pathLst>
              <a:path w="109855" h="185420">
                <a:moveTo>
                  <a:pt x="109601" y="0"/>
                </a:moveTo>
                <a:lnTo>
                  <a:pt x="0" y="0"/>
                </a:lnTo>
                <a:lnTo>
                  <a:pt x="0" y="40640"/>
                </a:lnTo>
                <a:lnTo>
                  <a:pt x="0" y="69850"/>
                </a:lnTo>
                <a:lnTo>
                  <a:pt x="0" y="109220"/>
                </a:lnTo>
                <a:lnTo>
                  <a:pt x="0" y="144780"/>
                </a:lnTo>
                <a:lnTo>
                  <a:pt x="0" y="185420"/>
                </a:lnTo>
                <a:lnTo>
                  <a:pt x="109601" y="185420"/>
                </a:lnTo>
                <a:lnTo>
                  <a:pt x="109601" y="144780"/>
                </a:lnTo>
                <a:lnTo>
                  <a:pt x="49885" y="144780"/>
                </a:lnTo>
                <a:lnTo>
                  <a:pt x="49885" y="109220"/>
                </a:lnTo>
                <a:lnTo>
                  <a:pt x="105181" y="109220"/>
                </a:lnTo>
                <a:lnTo>
                  <a:pt x="105181" y="69850"/>
                </a:lnTo>
                <a:lnTo>
                  <a:pt x="49885" y="69850"/>
                </a:lnTo>
                <a:lnTo>
                  <a:pt x="49885" y="40640"/>
                </a:lnTo>
                <a:lnTo>
                  <a:pt x="109601" y="40640"/>
                </a:lnTo>
                <a:lnTo>
                  <a:pt x="109601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5" name="bg object 23">
            <a:extLst>
              <a:ext uri="{FF2B5EF4-FFF2-40B4-BE49-F238E27FC236}">
                <a16:creationId xmlns:a16="http://schemas.microsoft.com/office/drawing/2014/main" id="{31335E99-7EF2-70EC-34D3-BA169F442CB7}"/>
              </a:ext>
            </a:extLst>
          </p:cNvPr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8055059" y="11302723"/>
            <a:ext cx="235657" cy="180287"/>
          </a:xfrm>
          <a:prstGeom prst="rect">
            <a:avLst/>
          </a:prstGeom>
        </p:spPr>
      </p:pic>
      <p:sp>
        <p:nvSpPr>
          <p:cNvPr id="16" name="bg object 24">
            <a:extLst>
              <a:ext uri="{FF2B5EF4-FFF2-40B4-BE49-F238E27FC236}">
                <a16:creationId xmlns:a16="http://schemas.microsoft.com/office/drawing/2014/main" id="{D1A0A415-7853-62E3-CB3E-071B940218B9}"/>
              </a:ext>
            </a:extLst>
          </p:cNvPr>
          <p:cNvSpPr/>
          <p:nvPr userDrawn="1"/>
        </p:nvSpPr>
        <p:spPr>
          <a:xfrm>
            <a:off x="18316233" y="11302681"/>
            <a:ext cx="362585" cy="180340"/>
          </a:xfrm>
          <a:custGeom>
            <a:avLst/>
            <a:gdLst/>
            <a:ahLst/>
            <a:cxnLst/>
            <a:rect l="l" t="t" r="r" b="b"/>
            <a:pathLst>
              <a:path w="362584" h="180340">
                <a:moveTo>
                  <a:pt x="29476" y="50"/>
                </a:moveTo>
                <a:lnTo>
                  <a:pt x="0" y="50"/>
                </a:lnTo>
                <a:lnTo>
                  <a:pt x="0" y="180340"/>
                </a:lnTo>
                <a:lnTo>
                  <a:pt x="29476" y="180340"/>
                </a:lnTo>
                <a:lnTo>
                  <a:pt x="29476" y="50"/>
                </a:lnTo>
                <a:close/>
              </a:path>
              <a:path w="362584" h="180340">
                <a:moveTo>
                  <a:pt x="192379" y="0"/>
                </a:moveTo>
                <a:lnTo>
                  <a:pt x="56845" y="0"/>
                </a:lnTo>
                <a:lnTo>
                  <a:pt x="56845" y="25400"/>
                </a:lnTo>
                <a:lnTo>
                  <a:pt x="109880" y="25400"/>
                </a:lnTo>
                <a:lnTo>
                  <a:pt x="109880" y="180340"/>
                </a:lnTo>
                <a:lnTo>
                  <a:pt x="139344" y="180340"/>
                </a:lnTo>
                <a:lnTo>
                  <a:pt x="139344" y="25400"/>
                </a:lnTo>
                <a:lnTo>
                  <a:pt x="192379" y="25400"/>
                </a:lnTo>
                <a:lnTo>
                  <a:pt x="192379" y="0"/>
                </a:lnTo>
                <a:close/>
              </a:path>
              <a:path w="362584" h="180340">
                <a:moveTo>
                  <a:pt x="362191" y="0"/>
                </a:moveTo>
                <a:lnTo>
                  <a:pt x="332587" y="0"/>
                </a:lnTo>
                <a:lnTo>
                  <a:pt x="332587" y="73660"/>
                </a:lnTo>
                <a:lnTo>
                  <a:pt x="249478" y="73660"/>
                </a:lnTo>
                <a:lnTo>
                  <a:pt x="249478" y="0"/>
                </a:lnTo>
                <a:lnTo>
                  <a:pt x="220002" y="0"/>
                </a:lnTo>
                <a:lnTo>
                  <a:pt x="220002" y="73660"/>
                </a:lnTo>
                <a:lnTo>
                  <a:pt x="220002" y="99060"/>
                </a:lnTo>
                <a:lnTo>
                  <a:pt x="220002" y="180340"/>
                </a:lnTo>
                <a:lnTo>
                  <a:pt x="249478" y="180340"/>
                </a:lnTo>
                <a:lnTo>
                  <a:pt x="249478" y="99060"/>
                </a:lnTo>
                <a:lnTo>
                  <a:pt x="332587" y="99060"/>
                </a:lnTo>
                <a:lnTo>
                  <a:pt x="332587" y="180340"/>
                </a:lnTo>
                <a:lnTo>
                  <a:pt x="362191" y="180340"/>
                </a:lnTo>
                <a:lnTo>
                  <a:pt x="362191" y="99060"/>
                </a:lnTo>
                <a:lnTo>
                  <a:pt x="362191" y="73660"/>
                </a:lnTo>
                <a:lnTo>
                  <a:pt x="362191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7" name="bg object 25">
            <a:extLst>
              <a:ext uri="{FF2B5EF4-FFF2-40B4-BE49-F238E27FC236}">
                <a16:creationId xmlns:a16="http://schemas.microsoft.com/office/drawing/2014/main" id="{94D15B1E-6517-DD4C-E84D-F76315270BA6}"/>
              </a:ext>
            </a:extLst>
          </p:cNvPr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8717022" y="11299886"/>
            <a:ext cx="168947" cy="185596"/>
          </a:xfrm>
          <a:prstGeom prst="rect">
            <a:avLst/>
          </a:prstGeom>
        </p:spPr>
      </p:pic>
      <p:pic>
        <p:nvPicPr>
          <p:cNvPr id="18" name="bg object 26">
            <a:extLst>
              <a:ext uri="{FF2B5EF4-FFF2-40B4-BE49-F238E27FC236}">
                <a16:creationId xmlns:a16="http://schemas.microsoft.com/office/drawing/2014/main" id="{1834921C-16D3-0C05-3B94-5B2315BC8312}"/>
              </a:ext>
            </a:extLst>
          </p:cNvPr>
          <p:cNvPicPr/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8923085" y="11302724"/>
            <a:ext cx="142927" cy="182758"/>
          </a:xfrm>
          <a:prstGeom prst="rect">
            <a:avLst/>
          </a:prstGeom>
        </p:spPr>
      </p:pic>
      <p:sp>
        <p:nvSpPr>
          <p:cNvPr id="19" name="bg object 27">
            <a:extLst>
              <a:ext uri="{FF2B5EF4-FFF2-40B4-BE49-F238E27FC236}">
                <a16:creationId xmlns:a16="http://schemas.microsoft.com/office/drawing/2014/main" id="{7916A531-9DF7-2556-2BCD-54DE30F9AF56}"/>
              </a:ext>
            </a:extLst>
          </p:cNvPr>
          <p:cNvSpPr/>
          <p:nvPr userDrawn="1"/>
        </p:nvSpPr>
        <p:spPr>
          <a:xfrm>
            <a:off x="19091898" y="11302681"/>
            <a:ext cx="135890" cy="180340"/>
          </a:xfrm>
          <a:custGeom>
            <a:avLst/>
            <a:gdLst/>
            <a:ahLst/>
            <a:cxnLst/>
            <a:rect l="l" t="t" r="r" b="b"/>
            <a:pathLst>
              <a:path w="135890" h="180340">
                <a:moveTo>
                  <a:pt x="135534" y="0"/>
                </a:moveTo>
                <a:lnTo>
                  <a:pt x="0" y="0"/>
                </a:lnTo>
                <a:lnTo>
                  <a:pt x="0" y="25400"/>
                </a:lnTo>
                <a:lnTo>
                  <a:pt x="53022" y="25400"/>
                </a:lnTo>
                <a:lnTo>
                  <a:pt x="53022" y="180340"/>
                </a:lnTo>
                <a:lnTo>
                  <a:pt x="82499" y="180340"/>
                </a:lnTo>
                <a:lnTo>
                  <a:pt x="82499" y="25400"/>
                </a:lnTo>
                <a:lnTo>
                  <a:pt x="135534" y="25400"/>
                </a:lnTo>
                <a:lnTo>
                  <a:pt x="1355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0" name="bg object 28">
            <a:extLst>
              <a:ext uri="{FF2B5EF4-FFF2-40B4-BE49-F238E27FC236}">
                <a16:creationId xmlns:a16="http://schemas.microsoft.com/office/drawing/2014/main" id="{BB92891B-B213-5669-2C24-62402675A90B}"/>
              </a:ext>
            </a:extLst>
          </p:cNvPr>
          <p:cNvSpPr/>
          <p:nvPr userDrawn="1"/>
        </p:nvSpPr>
        <p:spPr>
          <a:xfrm>
            <a:off x="18065725" y="11566511"/>
            <a:ext cx="142875" cy="180975"/>
          </a:xfrm>
          <a:custGeom>
            <a:avLst/>
            <a:gdLst/>
            <a:ahLst/>
            <a:cxnLst/>
            <a:rect l="l" t="t" r="r" b="b"/>
            <a:pathLst>
              <a:path w="142875" h="180975">
                <a:moveTo>
                  <a:pt x="98767" y="169303"/>
                </a:moveTo>
                <a:lnTo>
                  <a:pt x="12598" y="169303"/>
                </a:lnTo>
                <a:lnTo>
                  <a:pt x="12598" y="393"/>
                </a:lnTo>
                <a:lnTo>
                  <a:pt x="0" y="393"/>
                </a:lnTo>
                <a:lnTo>
                  <a:pt x="0" y="169303"/>
                </a:lnTo>
                <a:lnTo>
                  <a:pt x="0" y="180733"/>
                </a:lnTo>
                <a:lnTo>
                  <a:pt x="98767" y="180733"/>
                </a:lnTo>
                <a:lnTo>
                  <a:pt x="98767" y="169303"/>
                </a:lnTo>
                <a:close/>
              </a:path>
              <a:path w="142875" h="180975">
                <a:moveTo>
                  <a:pt x="142532" y="0"/>
                </a:moveTo>
                <a:lnTo>
                  <a:pt x="129921" y="0"/>
                </a:lnTo>
                <a:lnTo>
                  <a:pt x="129921" y="180733"/>
                </a:lnTo>
                <a:lnTo>
                  <a:pt x="142532" y="180733"/>
                </a:lnTo>
                <a:lnTo>
                  <a:pt x="142532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1" name="bg object 29">
            <a:extLst>
              <a:ext uri="{FF2B5EF4-FFF2-40B4-BE49-F238E27FC236}">
                <a16:creationId xmlns:a16="http://schemas.microsoft.com/office/drawing/2014/main" id="{4289FB55-B87E-E059-4CC9-FAE888B60D85}"/>
              </a:ext>
            </a:extLst>
          </p:cNvPr>
          <p:cNvSpPr/>
          <p:nvPr userDrawn="1"/>
        </p:nvSpPr>
        <p:spPr>
          <a:xfrm>
            <a:off x="18235080" y="11566511"/>
            <a:ext cx="170180" cy="180975"/>
          </a:xfrm>
          <a:custGeom>
            <a:avLst/>
            <a:gdLst/>
            <a:ahLst/>
            <a:cxnLst/>
            <a:rect l="l" t="t" r="r" b="b"/>
            <a:pathLst>
              <a:path w="170180" h="180975">
                <a:moveTo>
                  <a:pt x="130175" y="393"/>
                </a:moveTo>
                <a:lnTo>
                  <a:pt x="0" y="393"/>
                </a:lnTo>
                <a:lnTo>
                  <a:pt x="0" y="11823"/>
                </a:lnTo>
                <a:lnTo>
                  <a:pt x="58724" y="11823"/>
                </a:lnTo>
                <a:lnTo>
                  <a:pt x="58724" y="180733"/>
                </a:lnTo>
                <a:lnTo>
                  <a:pt x="71450" y="180733"/>
                </a:lnTo>
                <a:lnTo>
                  <a:pt x="71450" y="11823"/>
                </a:lnTo>
                <a:lnTo>
                  <a:pt x="130175" y="11823"/>
                </a:lnTo>
                <a:lnTo>
                  <a:pt x="130175" y="393"/>
                </a:lnTo>
                <a:close/>
              </a:path>
              <a:path w="170180" h="180975">
                <a:moveTo>
                  <a:pt x="169608" y="0"/>
                </a:moveTo>
                <a:lnTo>
                  <a:pt x="156997" y="0"/>
                </a:lnTo>
                <a:lnTo>
                  <a:pt x="156997" y="180733"/>
                </a:lnTo>
                <a:lnTo>
                  <a:pt x="169608" y="180733"/>
                </a:lnTo>
                <a:lnTo>
                  <a:pt x="169608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22" name="bg object 30">
            <a:extLst>
              <a:ext uri="{FF2B5EF4-FFF2-40B4-BE49-F238E27FC236}">
                <a16:creationId xmlns:a16="http://schemas.microsoft.com/office/drawing/2014/main" id="{6414AF34-C78F-F2CE-76C7-E9D37C0E30AA}"/>
              </a:ext>
            </a:extLst>
          </p:cNvPr>
          <p:cNvPicPr/>
          <p:nvPr userDrawn="1"/>
        </p:nvPicPr>
        <p:blipFill>
          <a:blip r:embed="rId9" cstate="print"/>
          <a:stretch>
            <a:fillRect/>
          </a:stretch>
        </p:blipFill>
        <p:spPr>
          <a:xfrm>
            <a:off x="18446220" y="11563659"/>
            <a:ext cx="147367" cy="186046"/>
          </a:xfrm>
          <a:prstGeom prst="rect">
            <a:avLst/>
          </a:prstGeom>
        </p:spPr>
      </p:pic>
      <p:pic>
        <p:nvPicPr>
          <p:cNvPr id="23" name="bg object 31">
            <a:extLst>
              <a:ext uri="{FF2B5EF4-FFF2-40B4-BE49-F238E27FC236}">
                <a16:creationId xmlns:a16="http://schemas.microsoft.com/office/drawing/2014/main" id="{9AF1EE42-8A58-4A4B-204A-A9B8DF04FEEF}"/>
              </a:ext>
            </a:extLst>
          </p:cNvPr>
          <p:cNvPicPr/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18613357" y="11565767"/>
            <a:ext cx="283342" cy="181470"/>
          </a:xfrm>
          <a:prstGeom prst="rect">
            <a:avLst/>
          </a:prstGeom>
        </p:spPr>
      </p:pic>
      <p:sp>
        <p:nvSpPr>
          <p:cNvPr id="24" name="bg object 32">
            <a:extLst>
              <a:ext uri="{FF2B5EF4-FFF2-40B4-BE49-F238E27FC236}">
                <a16:creationId xmlns:a16="http://schemas.microsoft.com/office/drawing/2014/main" id="{52479ACA-A209-2ADD-599F-D9592721C778}"/>
              </a:ext>
            </a:extLst>
          </p:cNvPr>
          <p:cNvSpPr/>
          <p:nvPr userDrawn="1"/>
        </p:nvSpPr>
        <p:spPr>
          <a:xfrm>
            <a:off x="18923528" y="11566506"/>
            <a:ext cx="12700" cy="180975"/>
          </a:xfrm>
          <a:custGeom>
            <a:avLst/>
            <a:gdLst/>
            <a:ahLst/>
            <a:cxnLst/>
            <a:rect l="l" t="t" r="r" b="b"/>
            <a:pathLst>
              <a:path w="12700" h="180975">
                <a:moveTo>
                  <a:pt x="12606" y="0"/>
                </a:moveTo>
                <a:lnTo>
                  <a:pt x="0" y="0"/>
                </a:lnTo>
                <a:lnTo>
                  <a:pt x="0" y="180727"/>
                </a:lnTo>
                <a:lnTo>
                  <a:pt x="12606" y="180727"/>
                </a:lnTo>
                <a:lnTo>
                  <a:pt x="12606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25" name="bg object 33">
            <a:extLst>
              <a:ext uri="{FF2B5EF4-FFF2-40B4-BE49-F238E27FC236}">
                <a16:creationId xmlns:a16="http://schemas.microsoft.com/office/drawing/2014/main" id="{8166439E-F20E-49CC-EA9A-3A03BFCFF9C1}"/>
              </a:ext>
            </a:extLst>
          </p:cNvPr>
          <p:cNvPicPr/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18977667" y="11563661"/>
            <a:ext cx="161576" cy="186046"/>
          </a:xfrm>
          <a:prstGeom prst="rect">
            <a:avLst/>
          </a:prstGeom>
        </p:spPr>
      </p:pic>
      <p:pic>
        <p:nvPicPr>
          <p:cNvPr id="26" name="bg object 34">
            <a:extLst>
              <a:ext uri="{FF2B5EF4-FFF2-40B4-BE49-F238E27FC236}">
                <a16:creationId xmlns:a16="http://schemas.microsoft.com/office/drawing/2014/main" id="{B2EB16F9-E21F-F7DC-CB13-E0F1F9D5B4D2}"/>
              </a:ext>
            </a:extLst>
          </p:cNvPr>
          <p:cNvPicPr/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19180778" y="11566509"/>
            <a:ext cx="131409" cy="180727"/>
          </a:xfrm>
          <a:prstGeom prst="rect">
            <a:avLst/>
          </a:prstGeom>
        </p:spPr>
      </p:pic>
      <p:sp>
        <p:nvSpPr>
          <p:cNvPr id="27" name="bg object 35">
            <a:extLst>
              <a:ext uri="{FF2B5EF4-FFF2-40B4-BE49-F238E27FC236}">
                <a16:creationId xmlns:a16="http://schemas.microsoft.com/office/drawing/2014/main" id="{47D6D57D-AF21-6197-2472-B129D7ADCAAC}"/>
              </a:ext>
            </a:extLst>
          </p:cNvPr>
          <p:cNvSpPr/>
          <p:nvPr userDrawn="1"/>
        </p:nvSpPr>
        <p:spPr>
          <a:xfrm>
            <a:off x="17305002" y="11018376"/>
            <a:ext cx="513715" cy="76200"/>
          </a:xfrm>
          <a:custGeom>
            <a:avLst/>
            <a:gdLst/>
            <a:ahLst/>
            <a:cxnLst/>
            <a:rect l="l" t="t" r="r" b="b"/>
            <a:pathLst>
              <a:path w="513715" h="76200">
                <a:moveTo>
                  <a:pt x="513418" y="0"/>
                </a:moveTo>
                <a:lnTo>
                  <a:pt x="0" y="0"/>
                </a:lnTo>
                <a:lnTo>
                  <a:pt x="0" y="76050"/>
                </a:lnTo>
                <a:lnTo>
                  <a:pt x="513418" y="76050"/>
                </a:lnTo>
                <a:lnTo>
                  <a:pt x="513418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8" name="bg object 36">
            <a:extLst>
              <a:ext uri="{FF2B5EF4-FFF2-40B4-BE49-F238E27FC236}">
                <a16:creationId xmlns:a16="http://schemas.microsoft.com/office/drawing/2014/main" id="{688ACF9F-4082-2B4D-6568-19322447E7B8}"/>
              </a:ext>
            </a:extLst>
          </p:cNvPr>
          <p:cNvSpPr/>
          <p:nvPr userDrawn="1"/>
        </p:nvSpPr>
        <p:spPr>
          <a:xfrm>
            <a:off x="497344" y="0"/>
            <a:ext cx="630555" cy="4417695"/>
          </a:xfrm>
          <a:custGeom>
            <a:avLst/>
            <a:gdLst/>
            <a:ahLst/>
            <a:cxnLst/>
            <a:rect l="l" t="t" r="r" b="b"/>
            <a:pathLst>
              <a:path w="630555" h="4417695">
                <a:moveTo>
                  <a:pt x="630242" y="4083639"/>
                </a:moveTo>
                <a:lnTo>
                  <a:pt x="630242" y="4073744"/>
                </a:lnTo>
                <a:lnTo>
                  <a:pt x="630106" y="4073859"/>
                </a:lnTo>
                <a:lnTo>
                  <a:pt x="629855" y="4074090"/>
                </a:lnTo>
                <a:lnTo>
                  <a:pt x="629855" y="0"/>
                </a:lnTo>
              </a:path>
              <a:path w="630555" h="4417695">
                <a:moveTo>
                  <a:pt x="2434" y="0"/>
                </a:moveTo>
                <a:lnTo>
                  <a:pt x="0" y="2699357"/>
                </a:lnTo>
                <a:lnTo>
                  <a:pt x="0" y="4417388"/>
                </a:lnTo>
                <a:lnTo>
                  <a:pt x="49735" y="4401593"/>
                </a:lnTo>
                <a:lnTo>
                  <a:pt x="98845" y="4384492"/>
                </a:lnTo>
                <a:lnTo>
                  <a:pt x="147304" y="4366102"/>
                </a:lnTo>
                <a:lnTo>
                  <a:pt x="195086" y="4346440"/>
                </a:lnTo>
                <a:lnTo>
                  <a:pt x="242168" y="4325523"/>
                </a:lnTo>
                <a:lnTo>
                  <a:pt x="288524" y="4303369"/>
                </a:lnTo>
                <a:lnTo>
                  <a:pt x="334129" y="4279994"/>
                </a:lnTo>
                <a:lnTo>
                  <a:pt x="378959" y="4255416"/>
                </a:lnTo>
                <a:lnTo>
                  <a:pt x="422987" y="4229652"/>
                </a:lnTo>
                <a:lnTo>
                  <a:pt x="466190" y="4202719"/>
                </a:lnTo>
                <a:lnTo>
                  <a:pt x="508541" y="4174634"/>
                </a:lnTo>
                <a:lnTo>
                  <a:pt x="550017" y="4145414"/>
                </a:lnTo>
                <a:lnTo>
                  <a:pt x="590593" y="4115077"/>
                </a:lnTo>
                <a:lnTo>
                  <a:pt x="630242" y="4083639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9" name="bg object 37">
            <a:extLst>
              <a:ext uri="{FF2B5EF4-FFF2-40B4-BE49-F238E27FC236}">
                <a16:creationId xmlns:a16="http://schemas.microsoft.com/office/drawing/2014/main" id="{2F4A67B1-EAF0-D9F7-A6F9-A3205AF059A8}"/>
              </a:ext>
            </a:extLst>
          </p:cNvPr>
          <p:cNvSpPr/>
          <p:nvPr userDrawn="1"/>
        </p:nvSpPr>
        <p:spPr>
          <a:xfrm>
            <a:off x="15802178" y="448750"/>
            <a:ext cx="4302125" cy="677545"/>
          </a:xfrm>
          <a:custGeom>
            <a:avLst/>
            <a:gdLst/>
            <a:ahLst/>
            <a:cxnLst/>
            <a:rect l="l" t="t" r="r" b="b"/>
            <a:pathLst>
              <a:path w="4302125" h="677544">
                <a:moveTo>
                  <a:pt x="4301921" y="0"/>
                </a:moveTo>
                <a:lnTo>
                  <a:pt x="0" y="0"/>
                </a:lnTo>
                <a:lnTo>
                  <a:pt x="0" y="677036"/>
                </a:lnTo>
                <a:lnTo>
                  <a:pt x="4301921" y="67703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30" name="bg object 38">
            <a:extLst>
              <a:ext uri="{FF2B5EF4-FFF2-40B4-BE49-F238E27FC236}">
                <a16:creationId xmlns:a16="http://schemas.microsoft.com/office/drawing/2014/main" id="{8839A987-A925-6A88-8FA6-2310669FA6FE}"/>
              </a:ext>
            </a:extLst>
          </p:cNvPr>
          <p:cNvSpPr/>
          <p:nvPr userDrawn="1"/>
        </p:nvSpPr>
        <p:spPr>
          <a:xfrm>
            <a:off x="15884111" y="10541781"/>
            <a:ext cx="4220210" cy="2306320"/>
          </a:xfrm>
          <a:custGeom>
            <a:avLst/>
            <a:gdLst/>
            <a:ahLst/>
            <a:cxnLst/>
            <a:rect l="l" t="t" r="r" b="b"/>
            <a:pathLst>
              <a:path w="4220209" h="2306320">
                <a:moveTo>
                  <a:pt x="4219988" y="815958"/>
                </a:moveTo>
                <a:lnTo>
                  <a:pt x="4191904" y="882755"/>
                </a:lnTo>
                <a:lnTo>
                  <a:pt x="4172368" y="925143"/>
                </a:lnTo>
                <a:lnTo>
                  <a:pt x="4151819" y="966953"/>
                </a:lnTo>
                <a:lnTo>
                  <a:pt x="4130274" y="1008168"/>
                </a:lnTo>
                <a:lnTo>
                  <a:pt x="4107749" y="1048774"/>
                </a:lnTo>
                <a:lnTo>
                  <a:pt x="4084260" y="1088754"/>
                </a:lnTo>
                <a:lnTo>
                  <a:pt x="4059821" y="1128093"/>
                </a:lnTo>
                <a:lnTo>
                  <a:pt x="4034449" y="1166773"/>
                </a:lnTo>
                <a:lnTo>
                  <a:pt x="4008160" y="1204781"/>
                </a:lnTo>
                <a:lnTo>
                  <a:pt x="3980969" y="1242098"/>
                </a:lnTo>
                <a:lnTo>
                  <a:pt x="3952893" y="1278711"/>
                </a:lnTo>
                <a:lnTo>
                  <a:pt x="3923946" y="1314603"/>
                </a:lnTo>
                <a:lnTo>
                  <a:pt x="3894144" y="1349757"/>
                </a:lnTo>
                <a:lnTo>
                  <a:pt x="3863505" y="1384159"/>
                </a:lnTo>
                <a:lnTo>
                  <a:pt x="3832042" y="1417791"/>
                </a:lnTo>
                <a:lnTo>
                  <a:pt x="3799772" y="1450639"/>
                </a:lnTo>
                <a:lnTo>
                  <a:pt x="3766711" y="1482687"/>
                </a:lnTo>
                <a:lnTo>
                  <a:pt x="3732874" y="1513918"/>
                </a:lnTo>
                <a:lnTo>
                  <a:pt x="3698277" y="1544317"/>
                </a:lnTo>
                <a:lnTo>
                  <a:pt x="3662937" y="1573867"/>
                </a:lnTo>
                <a:lnTo>
                  <a:pt x="3626868" y="1602554"/>
                </a:lnTo>
                <a:lnTo>
                  <a:pt x="3590086" y="1630360"/>
                </a:lnTo>
                <a:lnTo>
                  <a:pt x="3552607" y="1657271"/>
                </a:lnTo>
                <a:lnTo>
                  <a:pt x="3514448" y="1683270"/>
                </a:lnTo>
                <a:lnTo>
                  <a:pt x="3475623" y="1708341"/>
                </a:lnTo>
                <a:lnTo>
                  <a:pt x="3436148" y="1732468"/>
                </a:lnTo>
                <a:lnTo>
                  <a:pt x="3396040" y="1755637"/>
                </a:lnTo>
                <a:lnTo>
                  <a:pt x="3355314" y="1777830"/>
                </a:lnTo>
                <a:lnTo>
                  <a:pt x="3313985" y="1799031"/>
                </a:lnTo>
                <a:lnTo>
                  <a:pt x="3272070" y="1819226"/>
                </a:lnTo>
                <a:lnTo>
                  <a:pt x="3229584" y="1838398"/>
                </a:lnTo>
                <a:lnTo>
                  <a:pt x="3186543" y="1856530"/>
                </a:lnTo>
                <a:lnTo>
                  <a:pt x="3142962" y="1873609"/>
                </a:lnTo>
                <a:lnTo>
                  <a:pt x="3098858" y="1889616"/>
                </a:lnTo>
                <a:lnTo>
                  <a:pt x="3054247" y="1904537"/>
                </a:lnTo>
                <a:lnTo>
                  <a:pt x="3009143" y="1918356"/>
                </a:lnTo>
                <a:lnTo>
                  <a:pt x="2963563" y="1931056"/>
                </a:lnTo>
                <a:lnTo>
                  <a:pt x="2917522" y="1942622"/>
                </a:lnTo>
                <a:lnTo>
                  <a:pt x="2871037" y="1953038"/>
                </a:lnTo>
                <a:lnTo>
                  <a:pt x="2824123" y="1962288"/>
                </a:lnTo>
                <a:lnTo>
                  <a:pt x="2776795" y="1970357"/>
                </a:lnTo>
                <a:lnTo>
                  <a:pt x="2729070" y="1977227"/>
                </a:lnTo>
                <a:lnTo>
                  <a:pt x="2680963" y="1982885"/>
                </a:lnTo>
                <a:lnTo>
                  <a:pt x="2632491" y="1987312"/>
                </a:lnTo>
                <a:lnTo>
                  <a:pt x="2583668" y="1990494"/>
                </a:lnTo>
                <a:lnTo>
                  <a:pt x="2534510" y="1992415"/>
                </a:lnTo>
                <a:lnTo>
                  <a:pt x="2485034" y="1993059"/>
                </a:lnTo>
                <a:lnTo>
                  <a:pt x="2436764" y="1992447"/>
                </a:lnTo>
                <a:lnTo>
                  <a:pt x="2388796" y="1990619"/>
                </a:lnTo>
                <a:lnTo>
                  <a:pt x="2341143" y="1987591"/>
                </a:lnTo>
                <a:lnTo>
                  <a:pt x="2293821" y="1983377"/>
                </a:lnTo>
                <a:lnTo>
                  <a:pt x="2246844" y="1977992"/>
                </a:lnTo>
                <a:lnTo>
                  <a:pt x="2200227" y="1971450"/>
                </a:lnTo>
                <a:lnTo>
                  <a:pt x="2153985" y="1963767"/>
                </a:lnTo>
                <a:lnTo>
                  <a:pt x="2108132" y="1954958"/>
                </a:lnTo>
                <a:lnTo>
                  <a:pt x="2062683" y="1945036"/>
                </a:lnTo>
                <a:lnTo>
                  <a:pt x="2017652" y="1934016"/>
                </a:lnTo>
                <a:lnTo>
                  <a:pt x="1973055" y="1921914"/>
                </a:lnTo>
                <a:lnTo>
                  <a:pt x="1928906" y="1908745"/>
                </a:lnTo>
                <a:lnTo>
                  <a:pt x="1885220" y="1894521"/>
                </a:lnTo>
                <a:lnTo>
                  <a:pt x="1842011" y="1879260"/>
                </a:lnTo>
                <a:lnTo>
                  <a:pt x="1799294" y="1862975"/>
                </a:lnTo>
                <a:lnTo>
                  <a:pt x="1757084" y="1845680"/>
                </a:lnTo>
                <a:lnTo>
                  <a:pt x="1715395" y="1827392"/>
                </a:lnTo>
                <a:lnTo>
                  <a:pt x="1674242" y="1808123"/>
                </a:lnTo>
                <a:lnTo>
                  <a:pt x="1633641" y="1787890"/>
                </a:lnTo>
                <a:lnTo>
                  <a:pt x="1593605" y="1766707"/>
                </a:lnTo>
                <a:lnTo>
                  <a:pt x="1554149" y="1744589"/>
                </a:lnTo>
                <a:lnTo>
                  <a:pt x="1515288" y="1721550"/>
                </a:lnTo>
                <a:lnTo>
                  <a:pt x="1477037" y="1697605"/>
                </a:lnTo>
                <a:lnTo>
                  <a:pt x="1439410" y="1672769"/>
                </a:lnTo>
                <a:lnTo>
                  <a:pt x="1402422" y="1647056"/>
                </a:lnTo>
                <a:lnTo>
                  <a:pt x="1366087" y="1620482"/>
                </a:lnTo>
                <a:lnTo>
                  <a:pt x="1330421" y="1593060"/>
                </a:lnTo>
                <a:lnTo>
                  <a:pt x="1295438" y="1564807"/>
                </a:lnTo>
                <a:lnTo>
                  <a:pt x="1261153" y="1535736"/>
                </a:lnTo>
                <a:lnTo>
                  <a:pt x="1227580" y="1505862"/>
                </a:lnTo>
                <a:lnTo>
                  <a:pt x="1194734" y="1475200"/>
                </a:lnTo>
                <a:lnTo>
                  <a:pt x="1162630" y="1443764"/>
                </a:lnTo>
                <a:lnTo>
                  <a:pt x="1131283" y="1411570"/>
                </a:lnTo>
                <a:lnTo>
                  <a:pt x="1100707" y="1378633"/>
                </a:lnTo>
                <a:lnTo>
                  <a:pt x="1070916" y="1344966"/>
                </a:lnTo>
                <a:lnTo>
                  <a:pt x="1041926" y="1310584"/>
                </a:lnTo>
                <a:lnTo>
                  <a:pt x="1013752" y="1275503"/>
                </a:lnTo>
                <a:lnTo>
                  <a:pt x="986407" y="1239737"/>
                </a:lnTo>
                <a:lnTo>
                  <a:pt x="959907" y="1203301"/>
                </a:lnTo>
                <a:lnTo>
                  <a:pt x="934266" y="1166209"/>
                </a:lnTo>
                <a:lnTo>
                  <a:pt x="909500" y="1128476"/>
                </a:lnTo>
                <a:lnTo>
                  <a:pt x="885621" y="1090118"/>
                </a:lnTo>
                <a:lnTo>
                  <a:pt x="862647" y="1051148"/>
                </a:lnTo>
                <a:lnTo>
                  <a:pt x="840590" y="1011581"/>
                </a:lnTo>
                <a:lnTo>
                  <a:pt x="819466" y="971433"/>
                </a:lnTo>
                <a:lnTo>
                  <a:pt x="799290" y="930717"/>
                </a:lnTo>
                <a:lnTo>
                  <a:pt x="780076" y="889449"/>
                </a:lnTo>
                <a:lnTo>
                  <a:pt x="761838" y="847644"/>
                </a:lnTo>
                <a:lnTo>
                  <a:pt x="744592" y="805315"/>
                </a:lnTo>
                <a:lnTo>
                  <a:pt x="728352" y="762479"/>
                </a:lnTo>
                <a:lnTo>
                  <a:pt x="713133" y="719148"/>
                </a:lnTo>
                <a:lnTo>
                  <a:pt x="698950" y="675339"/>
                </a:lnTo>
                <a:lnTo>
                  <a:pt x="685817" y="631066"/>
                </a:lnTo>
                <a:lnTo>
                  <a:pt x="673749" y="586344"/>
                </a:lnTo>
                <a:lnTo>
                  <a:pt x="662760" y="541187"/>
                </a:lnTo>
                <a:lnTo>
                  <a:pt x="652866" y="495610"/>
                </a:lnTo>
                <a:lnTo>
                  <a:pt x="644081" y="449629"/>
                </a:lnTo>
                <a:lnTo>
                  <a:pt x="636419" y="403256"/>
                </a:lnTo>
                <a:lnTo>
                  <a:pt x="629896" y="356509"/>
                </a:lnTo>
                <a:lnTo>
                  <a:pt x="624526" y="309400"/>
                </a:lnTo>
                <a:lnTo>
                  <a:pt x="620324" y="261945"/>
                </a:lnTo>
                <a:lnTo>
                  <a:pt x="617304" y="214159"/>
                </a:lnTo>
                <a:lnTo>
                  <a:pt x="615482" y="166055"/>
                </a:lnTo>
                <a:lnTo>
                  <a:pt x="614871" y="117650"/>
                </a:lnTo>
                <a:lnTo>
                  <a:pt x="615459" y="88007"/>
                </a:lnTo>
                <a:lnTo>
                  <a:pt x="616934" y="58593"/>
                </a:lnTo>
                <a:lnTo>
                  <a:pt x="618864" y="29295"/>
                </a:lnTo>
                <a:lnTo>
                  <a:pt x="620818" y="0"/>
                </a:lnTo>
                <a:lnTo>
                  <a:pt x="0" y="0"/>
                </a:lnTo>
                <a:lnTo>
                  <a:pt x="0" y="112425"/>
                </a:lnTo>
                <a:lnTo>
                  <a:pt x="462" y="160786"/>
                </a:lnTo>
                <a:lnTo>
                  <a:pt x="1844" y="208927"/>
                </a:lnTo>
                <a:lnTo>
                  <a:pt x="4137" y="256837"/>
                </a:lnTo>
                <a:lnTo>
                  <a:pt x="7333" y="304511"/>
                </a:lnTo>
                <a:lnTo>
                  <a:pt x="11422" y="351938"/>
                </a:lnTo>
                <a:lnTo>
                  <a:pt x="16398" y="399110"/>
                </a:lnTo>
                <a:lnTo>
                  <a:pt x="22251" y="446020"/>
                </a:lnTo>
                <a:lnTo>
                  <a:pt x="28973" y="492658"/>
                </a:lnTo>
                <a:lnTo>
                  <a:pt x="36555" y="539017"/>
                </a:lnTo>
                <a:lnTo>
                  <a:pt x="44990" y="585087"/>
                </a:lnTo>
                <a:lnTo>
                  <a:pt x="54268" y="630861"/>
                </a:lnTo>
                <a:lnTo>
                  <a:pt x="64382" y="676330"/>
                </a:lnTo>
                <a:lnTo>
                  <a:pt x="75322" y="721485"/>
                </a:lnTo>
                <a:lnTo>
                  <a:pt x="87081" y="766318"/>
                </a:lnTo>
                <a:lnTo>
                  <a:pt x="99650" y="810822"/>
                </a:lnTo>
                <a:lnTo>
                  <a:pt x="113021" y="854986"/>
                </a:lnTo>
                <a:lnTo>
                  <a:pt x="127185" y="898803"/>
                </a:lnTo>
                <a:lnTo>
                  <a:pt x="142133" y="942265"/>
                </a:lnTo>
                <a:lnTo>
                  <a:pt x="157858" y="985363"/>
                </a:lnTo>
                <a:lnTo>
                  <a:pt x="174351" y="1028088"/>
                </a:lnTo>
                <a:lnTo>
                  <a:pt x="191604" y="1070433"/>
                </a:lnTo>
                <a:lnTo>
                  <a:pt x="209607" y="1112388"/>
                </a:lnTo>
                <a:lnTo>
                  <a:pt x="228354" y="1153946"/>
                </a:lnTo>
                <a:lnTo>
                  <a:pt x="247835" y="1195098"/>
                </a:lnTo>
                <a:lnTo>
                  <a:pt x="268041" y="1235835"/>
                </a:lnTo>
                <a:lnTo>
                  <a:pt x="288965" y="1276149"/>
                </a:lnTo>
                <a:lnTo>
                  <a:pt x="310599" y="1316032"/>
                </a:lnTo>
                <a:lnTo>
                  <a:pt x="332932" y="1355475"/>
                </a:lnTo>
                <a:lnTo>
                  <a:pt x="355959" y="1394471"/>
                </a:lnTo>
                <a:lnTo>
                  <a:pt x="379668" y="1433009"/>
                </a:lnTo>
                <a:lnTo>
                  <a:pt x="404054" y="1471083"/>
                </a:lnTo>
                <a:lnTo>
                  <a:pt x="429106" y="1508683"/>
                </a:lnTo>
                <a:lnTo>
                  <a:pt x="454817" y="1545801"/>
                </a:lnTo>
                <a:lnTo>
                  <a:pt x="481178" y="1582429"/>
                </a:lnTo>
                <a:lnTo>
                  <a:pt x="508181" y="1618559"/>
                </a:lnTo>
                <a:lnTo>
                  <a:pt x="535817" y="1654181"/>
                </a:lnTo>
                <a:lnTo>
                  <a:pt x="564078" y="1689288"/>
                </a:lnTo>
                <a:lnTo>
                  <a:pt x="592956" y="1723871"/>
                </a:lnTo>
                <a:lnTo>
                  <a:pt x="622441" y="1757922"/>
                </a:lnTo>
                <a:lnTo>
                  <a:pt x="652527" y="1791432"/>
                </a:lnTo>
                <a:lnTo>
                  <a:pt x="683203" y="1824392"/>
                </a:lnTo>
                <a:lnTo>
                  <a:pt x="714463" y="1856796"/>
                </a:lnTo>
                <a:lnTo>
                  <a:pt x="746297" y="1888633"/>
                </a:lnTo>
                <a:lnTo>
                  <a:pt x="778697" y="1919895"/>
                </a:lnTo>
                <a:lnTo>
                  <a:pt x="811654" y="1950575"/>
                </a:lnTo>
                <a:lnTo>
                  <a:pt x="845161" y="1980664"/>
                </a:lnTo>
                <a:lnTo>
                  <a:pt x="879208" y="2010153"/>
                </a:lnTo>
                <a:lnTo>
                  <a:pt x="913788" y="2039033"/>
                </a:lnTo>
                <a:lnTo>
                  <a:pt x="948892" y="2067298"/>
                </a:lnTo>
                <a:lnTo>
                  <a:pt x="984511" y="2094937"/>
                </a:lnTo>
                <a:lnTo>
                  <a:pt x="1020637" y="2121943"/>
                </a:lnTo>
                <a:lnTo>
                  <a:pt x="1057262" y="2148307"/>
                </a:lnTo>
                <a:lnTo>
                  <a:pt x="1094378" y="2174021"/>
                </a:lnTo>
                <a:lnTo>
                  <a:pt x="1131975" y="2199077"/>
                </a:lnTo>
                <a:lnTo>
                  <a:pt x="1170046" y="2223465"/>
                </a:lnTo>
                <a:lnTo>
                  <a:pt x="1208582" y="2247178"/>
                </a:lnTo>
                <a:lnTo>
                  <a:pt x="1247574" y="2270207"/>
                </a:lnTo>
                <a:lnTo>
                  <a:pt x="1287014" y="2292544"/>
                </a:lnTo>
                <a:lnTo>
                  <a:pt x="1311807" y="2305994"/>
                </a:lnTo>
              </a:path>
              <a:path w="4220209" h="2306320">
                <a:moveTo>
                  <a:pt x="3669507" y="2305994"/>
                </a:moveTo>
                <a:lnTo>
                  <a:pt x="3733746" y="2270207"/>
                </a:lnTo>
                <a:lnTo>
                  <a:pt x="3772742" y="2247178"/>
                </a:lnTo>
                <a:lnTo>
                  <a:pt x="3811281" y="2223465"/>
                </a:lnTo>
                <a:lnTo>
                  <a:pt x="3849355" y="2199077"/>
                </a:lnTo>
                <a:lnTo>
                  <a:pt x="3886955" y="2174021"/>
                </a:lnTo>
                <a:lnTo>
                  <a:pt x="3924074" y="2148307"/>
                </a:lnTo>
                <a:lnTo>
                  <a:pt x="3960702" y="2121943"/>
                </a:lnTo>
                <a:lnTo>
                  <a:pt x="3996831" y="2094937"/>
                </a:lnTo>
                <a:lnTo>
                  <a:pt x="4032453" y="2067298"/>
                </a:lnTo>
                <a:lnTo>
                  <a:pt x="4067559" y="2039033"/>
                </a:lnTo>
                <a:lnTo>
                  <a:pt x="4102141" y="2010153"/>
                </a:lnTo>
                <a:lnTo>
                  <a:pt x="4136191" y="1980664"/>
                </a:lnTo>
                <a:lnTo>
                  <a:pt x="4169700" y="1950575"/>
                </a:lnTo>
                <a:lnTo>
                  <a:pt x="4202660" y="1919895"/>
                </a:lnTo>
                <a:lnTo>
                  <a:pt x="4219988" y="190317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31" name="Holder 6">
            <a:extLst>
              <a:ext uri="{FF2B5EF4-FFF2-40B4-BE49-F238E27FC236}">
                <a16:creationId xmlns:a16="http://schemas.microsoft.com/office/drawing/2014/main" id="{AE87E3C6-D159-A139-092C-41CE3674AA62}"/>
              </a:ext>
            </a:extLst>
          </p:cNvPr>
          <p:cNvSpPr txBox="1">
            <a:spLocks/>
          </p:cNvSpPr>
          <p:nvPr userDrawn="1"/>
        </p:nvSpPr>
        <p:spPr>
          <a:xfrm>
            <a:off x="1689596" y="12106784"/>
            <a:ext cx="299085" cy="24828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1450" b="0" i="0" kern="1200">
                <a:solidFill>
                  <a:srgbClr val="A78A4C"/>
                </a:solidFill>
                <a:latin typeface="HelveticaNeue-Light"/>
                <a:ea typeface="+mn-ea"/>
                <a:cs typeface="HelveticaNeue-Ligh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85"/>
              </a:spcBef>
            </a:pPr>
            <a:fld id="{81D60167-4931-47E6-BA6A-407CBD079E47}" type="slidenum">
              <a:rPr lang="en-US" spc="15" smtClean="0"/>
              <a:pPr marL="38100">
                <a:spcBef>
                  <a:spcPts val="85"/>
                </a:spcBef>
              </a:pPr>
              <a:t>‹#›</a:t>
            </a:fld>
            <a:endParaRPr lang="en-US" spc="15" dirty="0"/>
          </a:p>
        </p:txBody>
      </p:sp>
    </p:spTree>
    <p:extLst>
      <p:ext uri="{BB962C8B-B14F-4D97-AF65-F5344CB8AC3E}">
        <p14:creationId xmlns:p14="http://schemas.microsoft.com/office/powerpoint/2010/main" val="1928080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5F52C-0577-7E61-5154-5A9ED52310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300" y="684213"/>
            <a:ext cx="17340263" cy="24844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C3609E-8625-D335-5174-BBE1D623FA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84300" y="3151188"/>
            <a:ext cx="8505825" cy="15430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36E668-B3BB-8DC7-69B4-71438562B0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384300" y="4694238"/>
            <a:ext cx="8505825" cy="6905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EB9DD0-6F4E-19D7-3ABB-9D7098232DC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0177463" y="3151188"/>
            <a:ext cx="8547100" cy="15430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AD24E6A-0B5C-8FE7-0BED-0156639280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0177463" y="4694238"/>
            <a:ext cx="8547100" cy="6905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AF2526-5654-A89F-A525-1F2325017B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bg object 16">
            <a:extLst>
              <a:ext uri="{FF2B5EF4-FFF2-40B4-BE49-F238E27FC236}">
                <a16:creationId xmlns:a16="http://schemas.microsoft.com/office/drawing/2014/main" id="{1CCCAC45-C52C-B666-2FA1-941D0230DB0B}"/>
              </a:ext>
            </a:extLst>
          </p:cNvPr>
          <p:cNvSpPr/>
          <p:nvPr userDrawn="1"/>
        </p:nvSpPr>
        <p:spPr>
          <a:xfrm>
            <a:off x="17231199" y="11172070"/>
            <a:ext cx="587375" cy="579755"/>
          </a:xfrm>
          <a:custGeom>
            <a:avLst/>
            <a:gdLst/>
            <a:ahLst/>
            <a:cxnLst/>
            <a:rect l="l" t="t" r="r" b="b"/>
            <a:pathLst>
              <a:path w="587375" h="579754">
                <a:moveTo>
                  <a:pt x="587259" y="0"/>
                </a:moveTo>
                <a:lnTo>
                  <a:pt x="513460" y="0"/>
                </a:lnTo>
                <a:lnTo>
                  <a:pt x="513460" y="285687"/>
                </a:lnTo>
                <a:lnTo>
                  <a:pt x="507898" y="334898"/>
                </a:lnTo>
                <a:lnTo>
                  <a:pt x="492045" y="380220"/>
                </a:lnTo>
                <a:lnTo>
                  <a:pt x="467148" y="420422"/>
                </a:lnTo>
                <a:lnTo>
                  <a:pt x="434457" y="454279"/>
                </a:lnTo>
                <a:lnTo>
                  <a:pt x="434457" y="0"/>
                </a:lnTo>
                <a:lnTo>
                  <a:pt x="358407" y="0"/>
                </a:lnTo>
                <a:lnTo>
                  <a:pt x="358407" y="495754"/>
                </a:lnTo>
                <a:lnTo>
                  <a:pt x="342810" y="499947"/>
                </a:lnTo>
                <a:lnTo>
                  <a:pt x="326785" y="503005"/>
                </a:lnTo>
                <a:lnTo>
                  <a:pt x="310376" y="504877"/>
                </a:lnTo>
                <a:lnTo>
                  <a:pt x="293624" y="505513"/>
                </a:lnTo>
                <a:lnTo>
                  <a:pt x="249374" y="501039"/>
                </a:lnTo>
                <a:lnTo>
                  <a:pt x="208134" y="488212"/>
                </a:lnTo>
                <a:lnTo>
                  <a:pt x="170795" y="467921"/>
                </a:lnTo>
                <a:lnTo>
                  <a:pt x="138248" y="441058"/>
                </a:lnTo>
                <a:lnTo>
                  <a:pt x="111383" y="408513"/>
                </a:lnTo>
                <a:lnTo>
                  <a:pt x="91090" y="371175"/>
                </a:lnTo>
                <a:lnTo>
                  <a:pt x="78262" y="329937"/>
                </a:lnTo>
                <a:lnTo>
                  <a:pt x="73788" y="285687"/>
                </a:lnTo>
                <a:lnTo>
                  <a:pt x="73788" y="272431"/>
                </a:lnTo>
                <a:lnTo>
                  <a:pt x="0" y="272431"/>
                </a:lnTo>
                <a:lnTo>
                  <a:pt x="0" y="285687"/>
                </a:lnTo>
                <a:lnTo>
                  <a:pt x="3850" y="333251"/>
                </a:lnTo>
                <a:lnTo>
                  <a:pt x="14995" y="378394"/>
                </a:lnTo>
                <a:lnTo>
                  <a:pt x="32825" y="420508"/>
                </a:lnTo>
                <a:lnTo>
                  <a:pt x="56731" y="458984"/>
                </a:lnTo>
                <a:lnTo>
                  <a:pt x="86103" y="493212"/>
                </a:lnTo>
                <a:lnTo>
                  <a:pt x="120332" y="522583"/>
                </a:lnTo>
                <a:lnTo>
                  <a:pt x="158808" y="546488"/>
                </a:lnTo>
                <a:lnTo>
                  <a:pt x="200921" y="564317"/>
                </a:lnTo>
                <a:lnTo>
                  <a:pt x="246063" y="575462"/>
                </a:lnTo>
                <a:lnTo>
                  <a:pt x="293624" y="579312"/>
                </a:lnTo>
                <a:lnTo>
                  <a:pt x="341190" y="575462"/>
                </a:lnTo>
                <a:lnTo>
                  <a:pt x="386336" y="564317"/>
                </a:lnTo>
                <a:lnTo>
                  <a:pt x="428452" y="546488"/>
                </a:lnTo>
                <a:lnTo>
                  <a:pt x="466929" y="522583"/>
                </a:lnTo>
                <a:lnTo>
                  <a:pt x="501158" y="493212"/>
                </a:lnTo>
                <a:lnTo>
                  <a:pt x="530530" y="458984"/>
                </a:lnTo>
                <a:lnTo>
                  <a:pt x="554435" y="420508"/>
                </a:lnTo>
                <a:lnTo>
                  <a:pt x="572265" y="378394"/>
                </a:lnTo>
                <a:lnTo>
                  <a:pt x="583409" y="333251"/>
                </a:lnTo>
                <a:lnTo>
                  <a:pt x="587259" y="285687"/>
                </a:lnTo>
                <a:lnTo>
                  <a:pt x="587259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1" name="bg object 17">
            <a:extLst>
              <a:ext uri="{FF2B5EF4-FFF2-40B4-BE49-F238E27FC236}">
                <a16:creationId xmlns:a16="http://schemas.microsoft.com/office/drawing/2014/main" id="{DAF9645B-DA28-13F9-CE1D-A28C769B687B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8065731" y="11020372"/>
            <a:ext cx="91557" cy="243814"/>
          </a:xfrm>
          <a:prstGeom prst="rect">
            <a:avLst/>
          </a:prstGeom>
        </p:spPr>
      </p:pic>
      <p:pic>
        <p:nvPicPr>
          <p:cNvPr id="12" name="bg object 18">
            <a:extLst>
              <a:ext uri="{FF2B5EF4-FFF2-40B4-BE49-F238E27FC236}">
                <a16:creationId xmlns:a16="http://schemas.microsoft.com/office/drawing/2014/main" id="{76D36118-8566-56C4-4EE1-4CCFC7C7E04F}"/>
              </a:ext>
            </a:extLst>
          </p:cNvPr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8196176" y="11020373"/>
            <a:ext cx="157984" cy="188088"/>
          </a:xfrm>
          <a:prstGeom prst="rect">
            <a:avLst/>
          </a:prstGeom>
        </p:spPr>
      </p:pic>
      <p:pic>
        <p:nvPicPr>
          <p:cNvPr id="13" name="bg object 19">
            <a:extLst>
              <a:ext uri="{FF2B5EF4-FFF2-40B4-BE49-F238E27FC236}">
                <a16:creationId xmlns:a16="http://schemas.microsoft.com/office/drawing/2014/main" id="{DC821F36-CD91-D817-D398-2315AFEB4BC3}"/>
              </a:ext>
            </a:extLst>
          </p:cNvPr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8384343" y="11017713"/>
            <a:ext cx="284270" cy="190748"/>
          </a:xfrm>
          <a:prstGeom prst="rect">
            <a:avLst/>
          </a:prstGeom>
        </p:spPr>
      </p:pic>
      <p:sp>
        <p:nvSpPr>
          <p:cNvPr id="14" name="bg object 20">
            <a:extLst>
              <a:ext uri="{FF2B5EF4-FFF2-40B4-BE49-F238E27FC236}">
                <a16:creationId xmlns:a16="http://schemas.microsoft.com/office/drawing/2014/main" id="{771279A2-6736-457B-B782-7A0608D04862}"/>
              </a:ext>
            </a:extLst>
          </p:cNvPr>
          <p:cNvSpPr/>
          <p:nvPr userDrawn="1"/>
        </p:nvSpPr>
        <p:spPr>
          <a:xfrm>
            <a:off x="18695001" y="11020376"/>
            <a:ext cx="50165" cy="186055"/>
          </a:xfrm>
          <a:custGeom>
            <a:avLst/>
            <a:gdLst/>
            <a:ahLst/>
            <a:cxnLst/>
            <a:rect l="l" t="t" r="r" b="b"/>
            <a:pathLst>
              <a:path w="50165" h="186054">
                <a:moveTo>
                  <a:pt x="50134" y="0"/>
                </a:moveTo>
                <a:lnTo>
                  <a:pt x="0" y="0"/>
                </a:lnTo>
                <a:lnTo>
                  <a:pt x="0" y="185554"/>
                </a:lnTo>
                <a:lnTo>
                  <a:pt x="50134" y="185554"/>
                </a:lnTo>
                <a:lnTo>
                  <a:pt x="501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5" name="bg object 21">
            <a:extLst>
              <a:ext uri="{FF2B5EF4-FFF2-40B4-BE49-F238E27FC236}">
                <a16:creationId xmlns:a16="http://schemas.microsoft.com/office/drawing/2014/main" id="{C65EC187-71DB-7A11-3F02-013FE05436EC}"/>
              </a:ext>
            </a:extLst>
          </p:cNvPr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8778226" y="11017713"/>
            <a:ext cx="146738" cy="190748"/>
          </a:xfrm>
          <a:prstGeom prst="rect">
            <a:avLst/>
          </a:prstGeom>
        </p:spPr>
      </p:pic>
      <p:sp>
        <p:nvSpPr>
          <p:cNvPr id="16" name="bg object 22">
            <a:extLst>
              <a:ext uri="{FF2B5EF4-FFF2-40B4-BE49-F238E27FC236}">
                <a16:creationId xmlns:a16="http://schemas.microsoft.com/office/drawing/2014/main" id="{6F05ADCF-475D-008D-8B0B-9BFF7D89AE3B}"/>
              </a:ext>
            </a:extLst>
          </p:cNvPr>
          <p:cNvSpPr/>
          <p:nvPr userDrawn="1"/>
        </p:nvSpPr>
        <p:spPr>
          <a:xfrm>
            <a:off x="18952884" y="11020512"/>
            <a:ext cx="109855" cy="185420"/>
          </a:xfrm>
          <a:custGeom>
            <a:avLst/>
            <a:gdLst/>
            <a:ahLst/>
            <a:cxnLst/>
            <a:rect l="l" t="t" r="r" b="b"/>
            <a:pathLst>
              <a:path w="109855" h="185420">
                <a:moveTo>
                  <a:pt x="109601" y="0"/>
                </a:moveTo>
                <a:lnTo>
                  <a:pt x="0" y="0"/>
                </a:lnTo>
                <a:lnTo>
                  <a:pt x="0" y="40640"/>
                </a:lnTo>
                <a:lnTo>
                  <a:pt x="0" y="69850"/>
                </a:lnTo>
                <a:lnTo>
                  <a:pt x="0" y="109220"/>
                </a:lnTo>
                <a:lnTo>
                  <a:pt x="0" y="144780"/>
                </a:lnTo>
                <a:lnTo>
                  <a:pt x="0" y="185420"/>
                </a:lnTo>
                <a:lnTo>
                  <a:pt x="109601" y="185420"/>
                </a:lnTo>
                <a:lnTo>
                  <a:pt x="109601" y="144780"/>
                </a:lnTo>
                <a:lnTo>
                  <a:pt x="49885" y="144780"/>
                </a:lnTo>
                <a:lnTo>
                  <a:pt x="49885" y="109220"/>
                </a:lnTo>
                <a:lnTo>
                  <a:pt x="105181" y="109220"/>
                </a:lnTo>
                <a:lnTo>
                  <a:pt x="105181" y="69850"/>
                </a:lnTo>
                <a:lnTo>
                  <a:pt x="49885" y="69850"/>
                </a:lnTo>
                <a:lnTo>
                  <a:pt x="49885" y="40640"/>
                </a:lnTo>
                <a:lnTo>
                  <a:pt x="109601" y="40640"/>
                </a:lnTo>
                <a:lnTo>
                  <a:pt x="109601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7" name="bg object 23">
            <a:extLst>
              <a:ext uri="{FF2B5EF4-FFF2-40B4-BE49-F238E27FC236}">
                <a16:creationId xmlns:a16="http://schemas.microsoft.com/office/drawing/2014/main" id="{B1278026-AD7E-667D-D964-F3CE1E586A6A}"/>
              </a:ext>
            </a:extLst>
          </p:cNvPr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8055059" y="11302723"/>
            <a:ext cx="235657" cy="180287"/>
          </a:xfrm>
          <a:prstGeom prst="rect">
            <a:avLst/>
          </a:prstGeom>
        </p:spPr>
      </p:pic>
      <p:sp>
        <p:nvSpPr>
          <p:cNvPr id="18" name="bg object 24">
            <a:extLst>
              <a:ext uri="{FF2B5EF4-FFF2-40B4-BE49-F238E27FC236}">
                <a16:creationId xmlns:a16="http://schemas.microsoft.com/office/drawing/2014/main" id="{EAAE4280-9843-CD92-898A-04B52871B1F9}"/>
              </a:ext>
            </a:extLst>
          </p:cNvPr>
          <p:cNvSpPr/>
          <p:nvPr userDrawn="1"/>
        </p:nvSpPr>
        <p:spPr>
          <a:xfrm>
            <a:off x="18316233" y="11302681"/>
            <a:ext cx="362585" cy="180340"/>
          </a:xfrm>
          <a:custGeom>
            <a:avLst/>
            <a:gdLst/>
            <a:ahLst/>
            <a:cxnLst/>
            <a:rect l="l" t="t" r="r" b="b"/>
            <a:pathLst>
              <a:path w="362584" h="180340">
                <a:moveTo>
                  <a:pt x="29476" y="50"/>
                </a:moveTo>
                <a:lnTo>
                  <a:pt x="0" y="50"/>
                </a:lnTo>
                <a:lnTo>
                  <a:pt x="0" y="180340"/>
                </a:lnTo>
                <a:lnTo>
                  <a:pt x="29476" y="180340"/>
                </a:lnTo>
                <a:lnTo>
                  <a:pt x="29476" y="50"/>
                </a:lnTo>
                <a:close/>
              </a:path>
              <a:path w="362584" h="180340">
                <a:moveTo>
                  <a:pt x="192379" y="0"/>
                </a:moveTo>
                <a:lnTo>
                  <a:pt x="56845" y="0"/>
                </a:lnTo>
                <a:lnTo>
                  <a:pt x="56845" y="25400"/>
                </a:lnTo>
                <a:lnTo>
                  <a:pt x="109880" y="25400"/>
                </a:lnTo>
                <a:lnTo>
                  <a:pt x="109880" y="180340"/>
                </a:lnTo>
                <a:lnTo>
                  <a:pt x="139344" y="180340"/>
                </a:lnTo>
                <a:lnTo>
                  <a:pt x="139344" y="25400"/>
                </a:lnTo>
                <a:lnTo>
                  <a:pt x="192379" y="25400"/>
                </a:lnTo>
                <a:lnTo>
                  <a:pt x="192379" y="0"/>
                </a:lnTo>
                <a:close/>
              </a:path>
              <a:path w="362584" h="180340">
                <a:moveTo>
                  <a:pt x="362191" y="0"/>
                </a:moveTo>
                <a:lnTo>
                  <a:pt x="332587" y="0"/>
                </a:lnTo>
                <a:lnTo>
                  <a:pt x="332587" y="73660"/>
                </a:lnTo>
                <a:lnTo>
                  <a:pt x="249478" y="73660"/>
                </a:lnTo>
                <a:lnTo>
                  <a:pt x="249478" y="0"/>
                </a:lnTo>
                <a:lnTo>
                  <a:pt x="220002" y="0"/>
                </a:lnTo>
                <a:lnTo>
                  <a:pt x="220002" y="73660"/>
                </a:lnTo>
                <a:lnTo>
                  <a:pt x="220002" y="99060"/>
                </a:lnTo>
                <a:lnTo>
                  <a:pt x="220002" y="180340"/>
                </a:lnTo>
                <a:lnTo>
                  <a:pt x="249478" y="180340"/>
                </a:lnTo>
                <a:lnTo>
                  <a:pt x="249478" y="99060"/>
                </a:lnTo>
                <a:lnTo>
                  <a:pt x="332587" y="99060"/>
                </a:lnTo>
                <a:lnTo>
                  <a:pt x="332587" y="180340"/>
                </a:lnTo>
                <a:lnTo>
                  <a:pt x="362191" y="180340"/>
                </a:lnTo>
                <a:lnTo>
                  <a:pt x="362191" y="99060"/>
                </a:lnTo>
                <a:lnTo>
                  <a:pt x="362191" y="73660"/>
                </a:lnTo>
                <a:lnTo>
                  <a:pt x="362191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9" name="bg object 25">
            <a:extLst>
              <a:ext uri="{FF2B5EF4-FFF2-40B4-BE49-F238E27FC236}">
                <a16:creationId xmlns:a16="http://schemas.microsoft.com/office/drawing/2014/main" id="{186A7E9D-A87E-94C6-8438-A3A09D7781C3}"/>
              </a:ext>
            </a:extLst>
          </p:cNvPr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8717022" y="11299886"/>
            <a:ext cx="168947" cy="185596"/>
          </a:xfrm>
          <a:prstGeom prst="rect">
            <a:avLst/>
          </a:prstGeom>
        </p:spPr>
      </p:pic>
      <p:pic>
        <p:nvPicPr>
          <p:cNvPr id="20" name="bg object 26">
            <a:extLst>
              <a:ext uri="{FF2B5EF4-FFF2-40B4-BE49-F238E27FC236}">
                <a16:creationId xmlns:a16="http://schemas.microsoft.com/office/drawing/2014/main" id="{D1C23099-FEA2-8844-30F8-585F3F1E20BE}"/>
              </a:ext>
            </a:extLst>
          </p:cNvPr>
          <p:cNvPicPr/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8923085" y="11302724"/>
            <a:ext cx="142927" cy="182758"/>
          </a:xfrm>
          <a:prstGeom prst="rect">
            <a:avLst/>
          </a:prstGeom>
        </p:spPr>
      </p:pic>
      <p:sp>
        <p:nvSpPr>
          <p:cNvPr id="21" name="bg object 27">
            <a:extLst>
              <a:ext uri="{FF2B5EF4-FFF2-40B4-BE49-F238E27FC236}">
                <a16:creationId xmlns:a16="http://schemas.microsoft.com/office/drawing/2014/main" id="{F2637533-6F2A-C24D-289B-34584C975DB2}"/>
              </a:ext>
            </a:extLst>
          </p:cNvPr>
          <p:cNvSpPr/>
          <p:nvPr userDrawn="1"/>
        </p:nvSpPr>
        <p:spPr>
          <a:xfrm>
            <a:off x="19091898" y="11302681"/>
            <a:ext cx="135890" cy="180340"/>
          </a:xfrm>
          <a:custGeom>
            <a:avLst/>
            <a:gdLst/>
            <a:ahLst/>
            <a:cxnLst/>
            <a:rect l="l" t="t" r="r" b="b"/>
            <a:pathLst>
              <a:path w="135890" h="180340">
                <a:moveTo>
                  <a:pt x="135534" y="0"/>
                </a:moveTo>
                <a:lnTo>
                  <a:pt x="0" y="0"/>
                </a:lnTo>
                <a:lnTo>
                  <a:pt x="0" y="25400"/>
                </a:lnTo>
                <a:lnTo>
                  <a:pt x="53022" y="25400"/>
                </a:lnTo>
                <a:lnTo>
                  <a:pt x="53022" y="180340"/>
                </a:lnTo>
                <a:lnTo>
                  <a:pt x="82499" y="180340"/>
                </a:lnTo>
                <a:lnTo>
                  <a:pt x="82499" y="25400"/>
                </a:lnTo>
                <a:lnTo>
                  <a:pt x="135534" y="25400"/>
                </a:lnTo>
                <a:lnTo>
                  <a:pt x="1355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2" name="bg object 28">
            <a:extLst>
              <a:ext uri="{FF2B5EF4-FFF2-40B4-BE49-F238E27FC236}">
                <a16:creationId xmlns:a16="http://schemas.microsoft.com/office/drawing/2014/main" id="{D228BEB2-BAC8-3A2A-F370-67218962484C}"/>
              </a:ext>
            </a:extLst>
          </p:cNvPr>
          <p:cNvSpPr/>
          <p:nvPr userDrawn="1"/>
        </p:nvSpPr>
        <p:spPr>
          <a:xfrm>
            <a:off x="18065725" y="11566511"/>
            <a:ext cx="142875" cy="180975"/>
          </a:xfrm>
          <a:custGeom>
            <a:avLst/>
            <a:gdLst/>
            <a:ahLst/>
            <a:cxnLst/>
            <a:rect l="l" t="t" r="r" b="b"/>
            <a:pathLst>
              <a:path w="142875" h="180975">
                <a:moveTo>
                  <a:pt x="98767" y="169303"/>
                </a:moveTo>
                <a:lnTo>
                  <a:pt x="12598" y="169303"/>
                </a:lnTo>
                <a:lnTo>
                  <a:pt x="12598" y="393"/>
                </a:lnTo>
                <a:lnTo>
                  <a:pt x="0" y="393"/>
                </a:lnTo>
                <a:lnTo>
                  <a:pt x="0" y="169303"/>
                </a:lnTo>
                <a:lnTo>
                  <a:pt x="0" y="180733"/>
                </a:lnTo>
                <a:lnTo>
                  <a:pt x="98767" y="180733"/>
                </a:lnTo>
                <a:lnTo>
                  <a:pt x="98767" y="169303"/>
                </a:lnTo>
                <a:close/>
              </a:path>
              <a:path w="142875" h="180975">
                <a:moveTo>
                  <a:pt x="142532" y="0"/>
                </a:moveTo>
                <a:lnTo>
                  <a:pt x="129921" y="0"/>
                </a:lnTo>
                <a:lnTo>
                  <a:pt x="129921" y="180733"/>
                </a:lnTo>
                <a:lnTo>
                  <a:pt x="142532" y="180733"/>
                </a:lnTo>
                <a:lnTo>
                  <a:pt x="142532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3" name="bg object 29">
            <a:extLst>
              <a:ext uri="{FF2B5EF4-FFF2-40B4-BE49-F238E27FC236}">
                <a16:creationId xmlns:a16="http://schemas.microsoft.com/office/drawing/2014/main" id="{881BBC9D-457B-0889-EFEF-75BCC15FAE20}"/>
              </a:ext>
            </a:extLst>
          </p:cNvPr>
          <p:cNvSpPr/>
          <p:nvPr userDrawn="1"/>
        </p:nvSpPr>
        <p:spPr>
          <a:xfrm>
            <a:off x="18235080" y="11566511"/>
            <a:ext cx="170180" cy="180975"/>
          </a:xfrm>
          <a:custGeom>
            <a:avLst/>
            <a:gdLst/>
            <a:ahLst/>
            <a:cxnLst/>
            <a:rect l="l" t="t" r="r" b="b"/>
            <a:pathLst>
              <a:path w="170180" h="180975">
                <a:moveTo>
                  <a:pt x="130175" y="393"/>
                </a:moveTo>
                <a:lnTo>
                  <a:pt x="0" y="393"/>
                </a:lnTo>
                <a:lnTo>
                  <a:pt x="0" y="11823"/>
                </a:lnTo>
                <a:lnTo>
                  <a:pt x="58724" y="11823"/>
                </a:lnTo>
                <a:lnTo>
                  <a:pt x="58724" y="180733"/>
                </a:lnTo>
                <a:lnTo>
                  <a:pt x="71450" y="180733"/>
                </a:lnTo>
                <a:lnTo>
                  <a:pt x="71450" y="11823"/>
                </a:lnTo>
                <a:lnTo>
                  <a:pt x="130175" y="11823"/>
                </a:lnTo>
                <a:lnTo>
                  <a:pt x="130175" y="393"/>
                </a:lnTo>
                <a:close/>
              </a:path>
              <a:path w="170180" h="180975">
                <a:moveTo>
                  <a:pt x="169608" y="0"/>
                </a:moveTo>
                <a:lnTo>
                  <a:pt x="156997" y="0"/>
                </a:lnTo>
                <a:lnTo>
                  <a:pt x="156997" y="180733"/>
                </a:lnTo>
                <a:lnTo>
                  <a:pt x="169608" y="180733"/>
                </a:lnTo>
                <a:lnTo>
                  <a:pt x="169608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24" name="bg object 30">
            <a:extLst>
              <a:ext uri="{FF2B5EF4-FFF2-40B4-BE49-F238E27FC236}">
                <a16:creationId xmlns:a16="http://schemas.microsoft.com/office/drawing/2014/main" id="{4E49F6E2-C01F-A2D4-56B8-0074DFA66745}"/>
              </a:ext>
            </a:extLst>
          </p:cNvPr>
          <p:cNvPicPr/>
          <p:nvPr userDrawn="1"/>
        </p:nvPicPr>
        <p:blipFill>
          <a:blip r:embed="rId9" cstate="print"/>
          <a:stretch>
            <a:fillRect/>
          </a:stretch>
        </p:blipFill>
        <p:spPr>
          <a:xfrm>
            <a:off x="18446220" y="11563659"/>
            <a:ext cx="147367" cy="186046"/>
          </a:xfrm>
          <a:prstGeom prst="rect">
            <a:avLst/>
          </a:prstGeom>
        </p:spPr>
      </p:pic>
      <p:pic>
        <p:nvPicPr>
          <p:cNvPr id="25" name="bg object 31">
            <a:extLst>
              <a:ext uri="{FF2B5EF4-FFF2-40B4-BE49-F238E27FC236}">
                <a16:creationId xmlns:a16="http://schemas.microsoft.com/office/drawing/2014/main" id="{8E5CD5AF-33B4-5C6B-23A4-4217B8DD1E51}"/>
              </a:ext>
            </a:extLst>
          </p:cNvPr>
          <p:cNvPicPr/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18613357" y="11565767"/>
            <a:ext cx="283342" cy="181470"/>
          </a:xfrm>
          <a:prstGeom prst="rect">
            <a:avLst/>
          </a:prstGeom>
        </p:spPr>
      </p:pic>
      <p:sp>
        <p:nvSpPr>
          <p:cNvPr id="26" name="bg object 32">
            <a:extLst>
              <a:ext uri="{FF2B5EF4-FFF2-40B4-BE49-F238E27FC236}">
                <a16:creationId xmlns:a16="http://schemas.microsoft.com/office/drawing/2014/main" id="{636886A4-7451-8C22-E075-288135FE3F8A}"/>
              </a:ext>
            </a:extLst>
          </p:cNvPr>
          <p:cNvSpPr/>
          <p:nvPr userDrawn="1"/>
        </p:nvSpPr>
        <p:spPr>
          <a:xfrm>
            <a:off x="18923528" y="11566506"/>
            <a:ext cx="12700" cy="180975"/>
          </a:xfrm>
          <a:custGeom>
            <a:avLst/>
            <a:gdLst/>
            <a:ahLst/>
            <a:cxnLst/>
            <a:rect l="l" t="t" r="r" b="b"/>
            <a:pathLst>
              <a:path w="12700" h="180975">
                <a:moveTo>
                  <a:pt x="12606" y="0"/>
                </a:moveTo>
                <a:lnTo>
                  <a:pt x="0" y="0"/>
                </a:lnTo>
                <a:lnTo>
                  <a:pt x="0" y="180727"/>
                </a:lnTo>
                <a:lnTo>
                  <a:pt x="12606" y="180727"/>
                </a:lnTo>
                <a:lnTo>
                  <a:pt x="12606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27" name="bg object 33">
            <a:extLst>
              <a:ext uri="{FF2B5EF4-FFF2-40B4-BE49-F238E27FC236}">
                <a16:creationId xmlns:a16="http://schemas.microsoft.com/office/drawing/2014/main" id="{F63C34F6-467E-3675-6F67-E50EA29A4355}"/>
              </a:ext>
            </a:extLst>
          </p:cNvPr>
          <p:cNvPicPr/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18977667" y="11563661"/>
            <a:ext cx="161576" cy="186046"/>
          </a:xfrm>
          <a:prstGeom prst="rect">
            <a:avLst/>
          </a:prstGeom>
        </p:spPr>
      </p:pic>
      <p:pic>
        <p:nvPicPr>
          <p:cNvPr id="28" name="bg object 34">
            <a:extLst>
              <a:ext uri="{FF2B5EF4-FFF2-40B4-BE49-F238E27FC236}">
                <a16:creationId xmlns:a16="http://schemas.microsoft.com/office/drawing/2014/main" id="{DEFF73BA-BC1E-21C7-1567-A648E8CC94CE}"/>
              </a:ext>
            </a:extLst>
          </p:cNvPr>
          <p:cNvPicPr/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19180778" y="11566509"/>
            <a:ext cx="131409" cy="180727"/>
          </a:xfrm>
          <a:prstGeom prst="rect">
            <a:avLst/>
          </a:prstGeom>
        </p:spPr>
      </p:pic>
      <p:sp>
        <p:nvSpPr>
          <p:cNvPr id="29" name="bg object 35">
            <a:extLst>
              <a:ext uri="{FF2B5EF4-FFF2-40B4-BE49-F238E27FC236}">
                <a16:creationId xmlns:a16="http://schemas.microsoft.com/office/drawing/2014/main" id="{17485A4D-5F40-E3B9-2763-674B02B334E9}"/>
              </a:ext>
            </a:extLst>
          </p:cNvPr>
          <p:cNvSpPr/>
          <p:nvPr userDrawn="1"/>
        </p:nvSpPr>
        <p:spPr>
          <a:xfrm>
            <a:off x="17305002" y="11018376"/>
            <a:ext cx="513715" cy="76200"/>
          </a:xfrm>
          <a:custGeom>
            <a:avLst/>
            <a:gdLst/>
            <a:ahLst/>
            <a:cxnLst/>
            <a:rect l="l" t="t" r="r" b="b"/>
            <a:pathLst>
              <a:path w="513715" h="76200">
                <a:moveTo>
                  <a:pt x="513418" y="0"/>
                </a:moveTo>
                <a:lnTo>
                  <a:pt x="0" y="0"/>
                </a:lnTo>
                <a:lnTo>
                  <a:pt x="0" y="76050"/>
                </a:lnTo>
                <a:lnTo>
                  <a:pt x="513418" y="76050"/>
                </a:lnTo>
                <a:lnTo>
                  <a:pt x="513418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30" name="bg object 36">
            <a:extLst>
              <a:ext uri="{FF2B5EF4-FFF2-40B4-BE49-F238E27FC236}">
                <a16:creationId xmlns:a16="http://schemas.microsoft.com/office/drawing/2014/main" id="{04158A31-6F08-29C6-FD06-5A038657C461}"/>
              </a:ext>
            </a:extLst>
          </p:cNvPr>
          <p:cNvSpPr/>
          <p:nvPr userDrawn="1"/>
        </p:nvSpPr>
        <p:spPr>
          <a:xfrm>
            <a:off x="497344" y="0"/>
            <a:ext cx="630555" cy="4417695"/>
          </a:xfrm>
          <a:custGeom>
            <a:avLst/>
            <a:gdLst/>
            <a:ahLst/>
            <a:cxnLst/>
            <a:rect l="l" t="t" r="r" b="b"/>
            <a:pathLst>
              <a:path w="630555" h="4417695">
                <a:moveTo>
                  <a:pt x="630242" y="4083639"/>
                </a:moveTo>
                <a:lnTo>
                  <a:pt x="630242" y="4073744"/>
                </a:lnTo>
                <a:lnTo>
                  <a:pt x="630106" y="4073859"/>
                </a:lnTo>
                <a:lnTo>
                  <a:pt x="629855" y="4074090"/>
                </a:lnTo>
                <a:lnTo>
                  <a:pt x="629855" y="0"/>
                </a:lnTo>
              </a:path>
              <a:path w="630555" h="4417695">
                <a:moveTo>
                  <a:pt x="2434" y="0"/>
                </a:moveTo>
                <a:lnTo>
                  <a:pt x="0" y="2699357"/>
                </a:lnTo>
                <a:lnTo>
                  <a:pt x="0" y="4417388"/>
                </a:lnTo>
                <a:lnTo>
                  <a:pt x="49735" y="4401593"/>
                </a:lnTo>
                <a:lnTo>
                  <a:pt x="98845" y="4384492"/>
                </a:lnTo>
                <a:lnTo>
                  <a:pt x="147304" y="4366102"/>
                </a:lnTo>
                <a:lnTo>
                  <a:pt x="195086" y="4346440"/>
                </a:lnTo>
                <a:lnTo>
                  <a:pt x="242168" y="4325523"/>
                </a:lnTo>
                <a:lnTo>
                  <a:pt x="288524" y="4303369"/>
                </a:lnTo>
                <a:lnTo>
                  <a:pt x="334129" y="4279994"/>
                </a:lnTo>
                <a:lnTo>
                  <a:pt x="378959" y="4255416"/>
                </a:lnTo>
                <a:lnTo>
                  <a:pt x="422987" y="4229652"/>
                </a:lnTo>
                <a:lnTo>
                  <a:pt x="466190" y="4202719"/>
                </a:lnTo>
                <a:lnTo>
                  <a:pt x="508541" y="4174634"/>
                </a:lnTo>
                <a:lnTo>
                  <a:pt x="550017" y="4145414"/>
                </a:lnTo>
                <a:lnTo>
                  <a:pt x="590593" y="4115077"/>
                </a:lnTo>
                <a:lnTo>
                  <a:pt x="630242" y="4083639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31" name="bg object 37">
            <a:extLst>
              <a:ext uri="{FF2B5EF4-FFF2-40B4-BE49-F238E27FC236}">
                <a16:creationId xmlns:a16="http://schemas.microsoft.com/office/drawing/2014/main" id="{6AF90462-7681-7D99-381A-4AD1184FA75C}"/>
              </a:ext>
            </a:extLst>
          </p:cNvPr>
          <p:cNvSpPr/>
          <p:nvPr userDrawn="1"/>
        </p:nvSpPr>
        <p:spPr>
          <a:xfrm>
            <a:off x="15802178" y="448750"/>
            <a:ext cx="4302125" cy="677545"/>
          </a:xfrm>
          <a:custGeom>
            <a:avLst/>
            <a:gdLst/>
            <a:ahLst/>
            <a:cxnLst/>
            <a:rect l="l" t="t" r="r" b="b"/>
            <a:pathLst>
              <a:path w="4302125" h="677544">
                <a:moveTo>
                  <a:pt x="4301921" y="0"/>
                </a:moveTo>
                <a:lnTo>
                  <a:pt x="0" y="0"/>
                </a:lnTo>
                <a:lnTo>
                  <a:pt x="0" y="677036"/>
                </a:lnTo>
                <a:lnTo>
                  <a:pt x="4301921" y="67703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32" name="bg object 38">
            <a:extLst>
              <a:ext uri="{FF2B5EF4-FFF2-40B4-BE49-F238E27FC236}">
                <a16:creationId xmlns:a16="http://schemas.microsoft.com/office/drawing/2014/main" id="{BCF4845E-AE09-041B-2B62-8F95D4F31CFD}"/>
              </a:ext>
            </a:extLst>
          </p:cNvPr>
          <p:cNvSpPr/>
          <p:nvPr userDrawn="1"/>
        </p:nvSpPr>
        <p:spPr>
          <a:xfrm>
            <a:off x="15884111" y="10541781"/>
            <a:ext cx="4220210" cy="2306320"/>
          </a:xfrm>
          <a:custGeom>
            <a:avLst/>
            <a:gdLst/>
            <a:ahLst/>
            <a:cxnLst/>
            <a:rect l="l" t="t" r="r" b="b"/>
            <a:pathLst>
              <a:path w="4220209" h="2306320">
                <a:moveTo>
                  <a:pt x="4219988" y="815958"/>
                </a:moveTo>
                <a:lnTo>
                  <a:pt x="4191904" y="882755"/>
                </a:lnTo>
                <a:lnTo>
                  <a:pt x="4172368" y="925143"/>
                </a:lnTo>
                <a:lnTo>
                  <a:pt x="4151819" y="966953"/>
                </a:lnTo>
                <a:lnTo>
                  <a:pt x="4130274" y="1008168"/>
                </a:lnTo>
                <a:lnTo>
                  <a:pt x="4107749" y="1048774"/>
                </a:lnTo>
                <a:lnTo>
                  <a:pt x="4084260" y="1088754"/>
                </a:lnTo>
                <a:lnTo>
                  <a:pt x="4059821" y="1128093"/>
                </a:lnTo>
                <a:lnTo>
                  <a:pt x="4034449" y="1166773"/>
                </a:lnTo>
                <a:lnTo>
                  <a:pt x="4008160" y="1204781"/>
                </a:lnTo>
                <a:lnTo>
                  <a:pt x="3980969" y="1242098"/>
                </a:lnTo>
                <a:lnTo>
                  <a:pt x="3952893" y="1278711"/>
                </a:lnTo>
                <a:lnTo>
                  <a:pt x="3923946" y="1314603"/>
                </a:lnTo>
                <a:lnTo>
                  <a:pt x="3894144" y="1349757"/>
                </a:lnTo>
                <a:lnTo>
                  <a:pt x="3863505" y="1384159"/>
                </a:lnTo>
                <a:lnTo>
                  <a:pt x="3832042" y="1417791"/>
                </a:lnTo>
                <a:lnTo>
                  <a:pt x="3799772" y="1450639"/>
                </a:lnTo>
                <a:lnTo>
                  <a:pt x="3766711" y="1482687"/>
                </a:lnTo>
                <a:lnTo>
                  <a:pt x="3732874" y="1513918"/>
                </a:lnTo>
                <a:lnTo>
                  <a:pt x="3698277" y="1544317"/>
                </a:lnTo>
                <a:lnTo>
                  <a:pt x="3662937" y="1573867"/>
                </a:lnTo>
                <a:lnTo>
                  <a:pt x="3626868" y="1602554"/>
                </a:lnTo>
                <a:lnTo>
                  <a:pt x="3590086" y="1630360"/>
                </a:lnTo>
                <a:lnTo>
                  <a:pt x="3552607" y="1657271"/>
                </a:lnTo>
                <a:lnTo>
                  <a:pt x="3514448" y="1683270"/>
                </a:lnTo>
                <a:lnTo>
                  <a:pt x="3475623" y="1708341"/>
                </a:lnTo>
                <a:lnTo>
                  <a:pt x="3436148" y="1732468"/>
                </a:lnTo>
                <a:lnTo>
                  <a:pt x="3396040" y="1755637"/>
                </a:lnTo>
                <a:lnTo>
                  <a:pt x="3355314" y="1777830"/>
                </a:lnTo>
                <a:lnTo>
                  <a:pt x="3313985" y="1799031"/>
                </a:lnTo>
                <a:lnTo>
                  <a:pt x="3272070" y="1819226"/>
                </a:lnTo>
                <a:lnTo>
                  <a:pt x="3229584" y="1838398"/>
                </a:lnTo>
                <a:lnTo>
                  <a:pt x="3186543" y="1856530"/>
                </a:lnTo>
                <a:lnTo>
                  <a:pt x="3142962" y="1873609"/>
                </a:lnTo>
                <a:lnTo>
                  <a:pt x="3098858" y="1889616"/>
                </a:lnTo>
                <a:lnTo>
                  <a:pt x="3054247" y="1904537"/>
                </a:lnTo>
                <a:lnTo>
                  <a:pt x="3009143" y="1918356"/>
                </a:lnTo>
                <a:lnTo>
                  <a:pt x="2963563" y="1931056"/>
                </a:lnTo>
                <a:lnTo>
                  <a:pt x="2917522" y="1942622"/>
                </a:lnTo>
                <a:lnTo>
                  <a:pt x="2871037" y="1953038"/>
                </a:lnTo>
                <a:lnTo>
                  <a:pt x="2824123" y="1962288"/>
                </a:lnTo>
                <a:lnTo>
                  <a:pt x="2776795" y="1970357"/>
                </a:lnTo>
                <a:lnTo>
                  <a:pt x="2729070" y="1977227"/>
                </a:lnTo>
                <a:lnTo>
                  <a:pt x="2680963" y="1982885"/>
                </a:lnTo>
                <a:lnTo>
                  <a:pt x="2632491" y="1987312"/>
                </a:lnTo>
                <a:lnTo>
                  <a:pt x="2583668" y="1990494"/>
                </a:lnTo>
                <a:lnTo>
                  <a:pt x="2534510" y="1992415"/>
                </a:lnTo>
                <a:lnTo>
                  <a:pt x="2485034" y="1993059"/>
                </a:lnTo>
                <a:lnTo>
                  <a:pt x="2436764" y="1992447"/>
                </a:lnTo>
                <a:lnTo>
                  <a:pt x="2388796" y="1990619"/>
                </a:lnTo>
                <a:lnTo>
                  <a:pt x="2341143" y="1987591"/>
                </a:lnTo>
                <a:lnTo>
                  <a:pt x="2293821" y="1983377"/>
                </a:lnTo>
                <a:lnTo>
                  <a:pt x="2246844" y="1977992"/>
                </a:lnTo>
                <a:lnTo>
                  <a:pt x="2200227" y="1971450"/>
                </a:lnTo>
                <a:lnTo>
                  <a:pt x="2153985" y="1963767"/>
                </a:lnTo>
                <a:lnTo>
                  <a:pt x="2108132" y="1954958"/>
                </a:lnTo>
                <a:lnTo>
                  <a:pt x="2062683" y="1945036"/>
                </a:lnTo>
                <a:lnTo>
                  <a:pt x="2017652" y="1934016"/>
                </a:lnTo>
                <a:lnTo>
                  <a:pt x="1973055" y="1921914"/>
                </a:lnTo>
                <a:lnTo>
                  <a:pt x="1928906" y="1908745"/>
                </a:lnTo>
                <a:lnTo>
                  <a:pt x="1885220" y="1894521"/>
                </a:lnTo>
                <a:lnTo>
                  <a:pt x="1842011" y="1879260"/>
                </a:lnTo>
                <a:lnTo>
                  <a:pt x="1799294" y="1862975"/>
                </a:lnTo>
                <a:lnTo>
                  <a:pt x="1757084" y="1845680"/>
                </a:lnTo>
                <a:lnTo>
                  <a:pt x="1715395" y="1827392"/>
                </a:lnTo>
                <a:lnTo>
                  <a:pt x="1674242" y="1808123"/>
                </a:lnTo>
                <a:lnTo>
                  <a:pt x="1633641" y="1787890"/>
                </a:lnTo>
                <a:lnTo>
                  <a:pt x="1593605" y="1766707"/>
                </a:lnTo>
                <a:lnTo>
                  <a:pt x="1554149" y="1744589"/>
                </a:lnTo>
                <a:lnTo>
                  <a:pt x="1515288" y="1721550"/>
                </a:lnTo>
                <a:lnTo>
                  <a:pt x="1477037" y="1697605"/>
                </a:lnTo>
                <a:lnTo>
                  <a:pt x="1439410" y="1672769"/>
                </a:lnTo>
                <a:lnTo>
                  <a:pt x="1402422" y="1647056"/>
                </a:lnTo>
                <a:lnTo>
                  <a:pt x="1366087" y="1620482"/>
                </a:lnTo>
                <a:lnTo>
                  <a:pt x="1330421" y="1593060"/>
                </a:lnTo>
                <a:lnTo>
                  <a:pt x="1295438" y="1564807"/>
                </a:lnTo>
                <a:lnTo>
                  <a:pt x="1261153" y="1535736"/>
                </a:lnTo>
                <a:lnTo>
                  <a:pt x="1227580" y="1505862"/>
                </a:lnTo>
                <a:lnTo>
                  <a:pt x="1194734" y="1475200"/>
                </a:lnTo>
                <a:lnTo>
                  <a:pt x="1162630" y="1443764"/>
                </a:lnTo>
                <a:lnTo>
                  <a:pt x="1131283" y="1411570"/>
                </a:lnTo>
                <a:lnTo>
                  <a:pt x="1100707" y="1378633"/>
                </a:lnTo>
                <a:lnTo>
                  <a:pt x="1070916" y="1344966"/>
                </a:lnTo>
                <a:lnTo>
                  <a:pt x="1041926" y="1310584"/>
                </a:lnTo>
                <a:lnTo>
                  <a:pt x="1013752" y="1275503"/>
                </a:lnTo>
                <a:lnTo>
                  <a:pt x="986407" y="1239737"/>
                </a:lnTo>
                <a:lnTo>
                  <a:pt x="959907" y="1203301"/>
                </a:lnTo>
                <a:lnTo>
                  <a:pt x="934266" y="1166209"/>
                </a:lnTo>
                <a:lnTo>
                  <a:pt x="909500" y="1128476"/>
                </a:lnTo>
                <a:lnTo>
                  <a:pt x="885621" y="1090118"/>
                </a:lnTo>
                <a:lnTo>
                  <a:pt x="862647" y="1051148"/>
                </a:lnTo>
                <a:lnTo>
                  <a:pt x="840590" y="1011581"/>
                </a:lnTo>
                <a:lnTo>
                  <a:pt x="819466" y="971433"/>
                </a:lnTo>
                <a:lnTo>
                  <a:pt x="799290" y="930717"/>
                </a:lnTo>
                <a:lnTo>
                  <a:pt x="780076" y="889449"/>
                </a:lnTo>
                <a:lnTo>
                  <a:pt x="761838" y="847644"/>
                </a:lnTo>
                <a:lnTo>
                  <a:pt x="744592" y="805315"/>
                </a:lnTo>
                <a:lnTo>
                  <a:pt x="728352" y="762479"/>
                </a:lnTo>
                <a:lnTo>
                  <a:pt x="713133" y="719148"/>
                </a:lnTo>
                <a:lnTo>
                  <a:pt x="698950" y="675339"/>
                </a:lnTo>
                <a:lnTo>
                  <a:pt x="685817" y="631066"/>
                </a:lnTo>
                <a:lnTo>
                  <a:pt x="673749" y="586344"/>
                </a:lnTo>
                <a:lnTo>
                  <a:pt x="662760" y="541187"/>
                </a:lnTo>
                <a:lnTo>
                  <a:pt x="652866" y="495610"/>
                </a:lnTo>
                <a:lnTo>
                  <a:pt x="644081" y="449629"/>
                </a:lnTo>
                <a:lnTo>
                  <a:pt x="636419" y="403256"/>
                </a:lnTo>
                <a:lnTo>
                  <a:pt x="629896" y="356509"/>
                </a:lnTo>
                <a:lnTo>
                  <a:pt x="624526" y="309400"/>
                </a:lnTo>
                <a:lnTo>
                  <a:pt x="620324" y="261945"/>
                </a:lnTo>
                <a:lnTo>
                  <a:pt x="617304" y="214159"/>
                </a:lnTo>
                <a:lnTo>
                  <a:pt x="615482" y="166055"/>
                </a:lnTo>
                <a:lnTo>
                  <a:pt x="614871" y="117650"/>
                </a:lnTo>
                <a:lnTo>
                  <a:pt x="615459" y="88007"/>
                </a:lnTo>
                <a:lnTo>
                  <a:pt x="616934" y="58593"/>
                </a:lnTo>
                <a:lnTo>
                  <a:pt x="618864" y="29295"/>
                </a:lnTo>
                <a:lnTo>
                  <a:pt x="620818" y="0"/>
                </a:lnTo>
                <a:lnTo>
                  <a:pt x="0" y="0"/>
                </a:lnTo>
                <a:lnTo>
                  <a:pt x="0" y="112425"/>
                </a:lnTo>
                <a:lnTo>
                  <a:pt x="462" y="160786"/>
                </a:lnTo>
                <a:lnTo>
                  <a:pt x="1844" y="208927"/>
                </a:lnTo>
                <a:lnTo>
                  <a:pt x="4137" y="256837"/>
                </a:lnTo>
                <a:lnTo>
                  <a:pt x="7333" y="304511"/>
                </a:lnTo>
                <a:lnTo>
                  <a:pt x="11422" y="351938"/>
                </a:lnTo>
                <a:lnTo>
                  <a:pt x="16398" y="399110"/>
                </a:lnTo>
                <a:lnTo>
                  <a:pt x="22251" y="446020"/>
                </a:lnTo>
                <a:lnTo>
                  <a:pt x="28973" y="492658"/>
                </a:lnTo>
                <a:lnTo>
                  <a:pt x="36555" y="539017"/>
                </a:lnTo>
                <a:lnTo>
                  <a:pt x="44990" y="585087"/>
                </a:lnTo>
                <a:lnTo>
                  <a:pt x="54268" y="630861"/>
                </a:lnTo>
                <a:lnTo>
                  <a:pt x="64382" y="676330"/>
                </a:lnTo>
                <a:lnTo>
                  <a:pt x="75322" y="721485"/>
                </a:lnTo>
                <a:lnTo>
                  <a:pt x="87081" y="766318"/>
                </a:lnTo>
                <a:lnTo>
                  <a:pt x="99650" y="810822"/>
                </a:lnTo>
                <a:lnTo>
                  <a:pt x="113021" y="854986"/>
                </a:lnTo>
                <a:lnTo>
                  <a:pt x="127185" y="898803"/>
                </a:lnTo>
                <a:lnTo>
                  <a:pt x="142133" y="942265"/>
                </a:lnTo>
                <a:lnTo>
                  <a:pt x="157858" y="985363"/>
                </a:lnTo>
                <a:lnTo>
                  <a:pt x="174351" y="1028088"/>
                </a:lnTo>
                <a:lnTo>
                  <a:pt x="191604" y="1070433"/>
                </a:lnTo>
                <a:lnTo>
                  <a:pt x="209607" y="1112388"/>
                </a:lnTo>
                <a:lnTo>
                  <a:pt x="228354" y="1153946"/>
                </a:lnTo>
                <a:lnTo>
                  <a:pt x="247835" y="1195098"/>
                </a:lnTo>
                <a:lnTo>
                  <a:pt x="268041" y="1235835"/>
                </a:lnTo>
                <a:lnTo>
                  <a:pt x="288965" y="1276149"/>
                </a:lnTo>
                <a:lnTo>
                  <a:pt x="310599" y="1316032"/>
                </a:lnTo>
                <a:lnTo>
                  <a:pt x="332932" y="1355475"/>
                </a:lnTo>
                <a:lnTo>
                  <a:pt x="355959" y="1394471"/>
                </a:lnTo>
                <a:lnTo>
                  <a:pt x="379668" y="1433009"/>
                </a:lnTo>
                <a:lnTo>
                  <a:pt x="404054" y="1471083"/>
                </a:lnTo>
                <a:lnTo>
                  <a:pt x="429106" y="1508683"/>
                </a:lnTo>
                <a:lnTo>
                  <a:pt x="454817" y="1545801"/>
                </a:lnTo>
                <a:lnTo>
                  <a:pt x="481178" y="1582429"/>
                </a:lnTo>
                <a:lnTo>
                  <a:pt x="508181" y="1618559"/>
                </a:lnTo>
                <a:lnTo>
                  <a:pt x="535817" y="1654181"/>
                </a:lnTo>
                <a:lnTo>
                  <a:pt x="564078" y="1689288"/>
                </a:lnTo>
                <a:lnTo>
                  <a:pt x="592956" y="1723871"/>
                </a:lnTo>
                <a:lnTo>
                  <a:pt x="622441" y="1757922"/>
                </a:lnTo>
                <a:lnTo>
                  <a:pt x="652527" y="1791432"/>
                </a:lnTo>
                <a:lnTo>
                  <a:pt x="683203" y="1824392"/>
                </a:lnTo>
                <a:lnTo>
                  <a:pt x="714463" y="1856796"/>
                </a:lnTo>
                <a:lnTo>
                  <a:pt x="746297" y="1888633"/>
                </a:lnTo>
                <a:lnTo>
                  <a:pt x="778697" y="1919895"/>
                </a:lnTo>
                <a:lnTo>
                  <a:pt x="811654" y="1950575"/>
                </a:lnTo>
                <a:lnTo>
                  <a:pt x="845161" y="1980664"/>
                </a:lnTo>
                <a:lnTo>
                  <a:pt x="879208" y="2010153"/>
                </a:lnTo>
                <a:lnTo>
                  <a:pt x="913788" y="2039033"/>
                </a:lnTo>
                <a:lnTo>
                  <a:pt x="948892" y="2067298"/>
                </a:lnTo>
                <a:lnTo>
                  <a:pt x="984511" y="2094937"/>
                </a:lnTo>
                <a:lnTo>
                  <a:pt x="1020637" y="2121943"/>
                </a:lnTo>
                <a:lnTo>
                  <a:pt x="1057262" y="2148307"/>
                </a:lnTo>
                <a:lnTo>
                  <a:pt x="1094378" y="2174021"/>
                </a:lnTo>
                <a:lnTo>
                  <a:pt x="1131975" y="2199077"/>
                </a:lnTo>
                <a:lnTo>
                  <a:pt x="1170046" y="2223465"/>
                </a:lnTo>
                <a:lnTo>
                  <a:pt x="1208582" y="2247178"/>
                </a:lnTo>
                <a:lnTo>
                  <a:pt x="1247574" y="2270207"/>
                </a:lnTo>
                <a:lnTo>
                  <a:pt x="1287014" y="2292544"/>
                </a:lnTo>
                <a:lnTo>
                  <a:pt x="1311807" y="2305994"/>
                </a:lnTo>
              </a:path>
              <a:path w="4220209" h="2306320">
                <a:moveTo>
                  <a:pt x="3669507" y="2305994"/>
                </a:moveTo>
                <a:lnTo>
                  <a:pt x="3733746" y="2270207"/>
                </a:lnTo>
                <a:lnTo>
                  <a:pt x="3772742" y="2247178"/>
                </a:lnTo>
                <a:lnTo>
                  <a:pt x="3811281" y="2223465"/>
                </a:lnTo>
                <a:lnTo>
                  <a:pt x="3849355" y="2199077"/>
                </a:lnTo>
                <a:lnTo>
                  <a:pt x="3886955" y="2174021"/>
                </a:lnTo>
                <a:lnTo>
                  <a:pt x="3924074" y="2148307"/>
                </a:lnTo>
                <a:lnTo>
                  <a:pt x="3960702" y="2121943"/>
                </a:lnTo>
                <a:lnTo>
                  <a:pt x="3996831" y="2094937"/>
                </a:lnTo>
                <a:lnTo>
                  <a:pt x="4032453" y="2067298"/>
                </a:lnTo>
                <a:lnTo>
                  <a:pt x="4067559" y="2039033"/>
                </a:lnTo>
                <a:lnTo>
                  <a:pt x="4102141" y="2010153"/>
                </a:lnTo>
                <a:lnTo>
                  <a:pt x="4136191" y="1980664"/>
                </a:lnTo>
                <a:lnTo>
                  <a:pt x="4169700" y="1950575"/>
                </a:lnTo>
                <a:lnTo>
                  <a:pt x="4202660" y="1919895"/>
                </a:lnTo>
                <a:lnTo>
                  <a:pt x="4219988" y="190317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33" name="Holder 6">
            <a:extLst>
              <a:ext uri="{FF2B5EF4-FFF2-40B4-BE49-F238E27FC236}">
                <a16:creationId xmlns:a16="http://schemas.microsoft.com/office/drawing/2014/main" id="{FB7F11AF-3528-DBD6-8537-6F962FCBACE1}"/>
              </a:ext>
            </a:extLst>
          </p:cNvPr>
          <p:cNvSpPr txBox="1">
            <a:spLocks/>
          </p:cNvSpPr>
          <p:nvPr userDrawn="1"/>
        </p:nvSpPr>
        <p:spPr>
          <a:xfrm>
            <a:off x="1689596" y="12106784"/>
            <a:ext cx="299085" cy="24828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1450" b="0" i="0" kern="1200">
                <a:solidFill>
                  <a:srgbClr val="A78A4C"/>
                </a:solidFill>
                <a:latin typeface="HelveticaNeue-Light"/>
                <a:ea typeface="+mn-ea"/>
                <a:cs typeface="HelveticaNeue-Ligh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85"/>
              </a:spcBef>
            </a:pPr>
            <a:fld id="{81D60167-4931-47E6-BA6A-407CBD079E47}" type="slidenum">
              <a:rPr lang="en-US" spc="15" smtClean="0"/>
              <a:pPr marL="38100">
                <a:spcBef>
                  <a:spcPts val="85"/>
                </a:spcBef>
              </a:pPr>
              <a:t>‹#›</a:t>
            </a:fld>
            <a:endParaRPr lang="en-US" spc="15" dirty="0"/>
          </a:p>
        </p:txBody>
      </p:sp>
    </p:spTree>
    <p:extLst>
      <p:ext uri="{BB962C8B-B14F-4D97-AF65-F5344CB8AC3E}">
        <p14:creationId xmlns:p14="http://schemas.microsoft.com/office/powerpoint/2010/main" val="1854926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36B2D-554A-0ED9-39E2-2FC49F4DE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F02750-36D7-34C4-EAEE-2A716C759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bg object 16">
            <a:extLst>
              <a:ext uri="{FF2B5EF4-FFF2-40B4-BE49-F238E27FC236}">
                <a16:creationId xmlns:a16="http://schemas.microsoft.com/office/drawing/2014/main" id="{97B5DE17-9E4B-4B3F-14B2-F68798872CC0}"/>
              </a:ext>
            </a:extLst>
          </p:cNvPr>
          <p:cNvSpPr/>
          <p:nvPr userDrawn="1"/>
        </p:nvSpPr>
        <p:spPr>
          <a:xfrm>
            <a:off x="17231199" y="11172070"/>
            <a:ext cx="587375" cy="579755"/>
          </a:xfrm>
          <a:custGeom>
            <a:avLst/>
            <a:gdLst/>
            <a:ahLst/>
            <a:cxnLst/>
            <a:rect l="l" t="t" r="r" b="b"/>
            <a:pathLst>
              <a:path w="587375" h="579754">
                <a:moveTo>
                  <a:pt x="587259" y="0"/>
                </a:moveTo>
                <a:lnTo>
                  <a:pt x="513460" y="0"/>
                </a:lnTo>
                <a:lnTo>
                  <a:pt x="513460" y="285687"/>
                </a:lnTo>
                <a:lnTo>
                  <a:pt x="507898" y="334898"/>
                </a:lnTo>
                <a:lnTo>
                  <a:pt x="492045" y="380220"/>
                </a:lnTo>
                <a:lnTo>
                  <a:pt x="467148" y="420422"/>
                </a:lnTo>
                <a:lnTo>
                  <a:pt x="434457" y="454279"/>
                </a:lnTo>
                <a:lnTo>
                  <a:pt x="434457" y="0"/>
                </a:lnTo>
                <a:lnTo>
                  <a:pt x="358407" y="0"/>
                </a:lnTo>
                <a:lnTo>
                  <a:pt x="358407" y="495754"/>
                </a:lnTo>
                <a:lnTo>
                  <a:pt x="342810" y="499947"/>
                </a:lnTo>
                <a:lnTo>
                  <a:pt x="326785" y="503005"/>
                </a:lnTo>
                <a:lnTo>
                  <a:pt x="310376" y="504877"/>
                </a:lnTo>
                <a:lnTo>
                  <a:pt x="293624" y="505513"/>
                </a:lnTo>
                <a:lnTo>
                  <a:pt x="249374" y="501039"/>
                </a:lnTo>
                <a:lnTo>
                  <a:pt x="208134" y="488212"/>
                </a:lnTo>
                <a:lnTo>
                  <a:pt x="170795" y="467921"/>
                </a:lnTo>
                <a:lnTo>
                  <a:pt x="138248" y="441058"/>
                </a:lnTo>
                <a:lnTo>
                  <a:pt x="111383" y="408513"/>
                </a:lnTo>
                <a:lnTo>
                  <a:pt x="91090" y="371175"/>
                </a:lnTo>
                <a:lnTo>
                  <a:pt x="78262" y="329937"/>
                </a:lnTo>
                <a:lnTo>
                  <a:pt x="73788" y="285687"/>
                </a:lnTo>
                <a:lnTo>
                  <a:pt x="73788" y="272431"/>
                </a:lnTo>
                <a:lnTo>
                  <a:pt x="0" y="272431"/>
                </a:lnTo>
                <a:lnTo>
                  <a:pt x="0" y="285687"/>
                </a:lnTo>
                <a:lnTo>
                  <a:pt x="3850" y="333251"/>
                </a:lnTo>
                <a:lnTo>
                  <a:pt x="14995" y="378394"/>
                </a:lnTo>
                <a:lnTo>
                  <a:pt x="32825" y="420508"/>
                </a:lnTo>
                <a:lnTo>
                  <a:pt x="56731" y="458984"/>
                </a:lnTo>
                <a:lnTo>
                  <a:pt x="86103" y="493212"/>
                </a:lnTo>
                <a:lnTo>
                  <a:pt x="120332" y="522583"/>
                </a:lnTo>
                <a:lnTo>
                  <a:pt x="158808" y="546488"/>
                </a:lnTo>
                <a:lnTo>
                  <a:pt x="200921" y="564317"/>
                </a:lnTo>
                <a:lnTo>
                  <a:pt x="246063" y="575462"/>
                </a:lnTo>
                <a:lnTo>
                  <a:pt x="293624" y="579312"/>
                </a:lnTo>
                <a:lnTo>
                  <a:pt x="341190" y="575462"/>
                </a:lnTo>
                <a:lnTo>
                  <a:pt x="386336" y="564317"/>
                </a:lnTo>
                <a:lnTo>
                  <a:pt x="428452" y="546488"/>
                </a:lnTo>
                <a:lnTo>
                  <a:pt x="466929" y="522583"/>
                </a:lnTo>
                <a:lnTo>
                  <a:pt x="501158" y="493212"/>
                </a:lnTo>
                <a:lnTo>
                  <a:pt x="530530" y="458984"/>
                </a:lnTo>
                <a:lnTo>
                  <a:pt x="554435" y="420508"/>
                </a:lnTo>
                <a:lnTo>
                  <a:pt x="572265" y="378394"/>
                </a:lnTo>
                <a:lnTo>
                  <a:pt x="583409" y="333251"/>
                </a:lnTo>
                <a:lnTo>
                  <a:pt x="587259" y="285687"/>
                </a:lnTo>
                <a:lnTo>
                  <a:pt x="587259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7" name="bg object 17">
            <a:extLst>
              <a:ext uri="{FF2B5EF4-FFF2-40B4-BE49-F238E27FC236}">
                <a16:creationId xmlns:a16="http://schemas.microsoft.com/office/drawing/2014/main" id="{3027469A-814C-4645-CF70-1958203B5CFF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8065731" y="11020372"/>
            <a:ext cx="91557" cy="243814"/>
          </a:xfrm>
          <a:prstGeom prst="rect">
            <a:avLst/>
          </a:prstGeom>
        </p:spPr>
      </p:pic>
      <p:pic>
        <p:nvPicPr>
          <p:cNvPr id="8" name="bg object 18">
            <a:extLst>
              <a:ext uri="{FF2B5EF4-FFF2-40B4-BE49-F238E27FC236}">
                <a16:creationId xmlns:a16="http://schemas.microsoft.com/office/drawing/2014/main" id="{D199E766-639E-96FD-C6B4-FBD79AA36CBB}"/>
              </a:ext>
            </a:extLst>
          </p:cNvPr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8196176" y="11020373"/>
            <a:ext cx="157984" cy="188088"/>
          </a:xfrm>
          <a:prstGeom prst="rect">
            <a:avLst/>
          </a:prstGeom>
        </p:spPr>
      </p:pic>
      <p:pic>
        <p:nvPicPr>
          <p:cNvPr id="9" name="bg object 19">
            <a:extLst>
              <a:ext uri="{FF2B5EF4-FFF2-40B4-BE49-F238E27FC236}">
                <a16:creationId xmlns:a16="http://schemas.microsoft.com/office/drawing/2014/main" id="{CC924AEE-D9FF-F71B-8973-A9C2B922ABFC}"/>
              </a:ext>
            </a:extLst>
          </p:cNvPr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8384343" y="11017713"/>
            <a:ext cx="284270" cy="190748"/>
          </a:xfrm>
          <a:prstGeom prst="rect">
            <a:avLst/>
          </a:prstGeom>
        </p:spPr>
      </p:pic>
      <p:sp>
        <p:nvSpPr>
          <p:cNvPr id="10" name="bg object 20">
            <a:extLst>
              <a:ext uri="{FF2B5EF4-FFF2-40B4-BE49-F238E27FC236}">
                <a16:creationId xmlns:a16="http://schemas.microsoft.com/office/drawing/2014/main" id="{FF320173-970A-F079-A983-A98DEA227DDD}"/>
              </a:ext>
            </a:extLst>
          </p:cNvPr>
          <p:cNvSpPr/>
          <p:nvPr userDrawn="1"/>
        </p:nvSpPr>
        <p:spPr>
          <a:xfrm>
            <a:off x="18695001" y="11020376"/>
            <a:ext cx="50165" cy="186055"/>
          </a:xfrm>
          <a:custGeom>
            <a:avLst/>
            <a:gdLst/>
            <a:ahLst/>
            <a:cxnLst/>
            <a:rect l="l" t="t" r="r" b="b"/>
            <a:pathLst>
              <a:path w="50165" h="186054">
                <a:moveTo>
                  <a:pt x="50134" y="0"/>
                </a:moveTo>
                <a:lnTo>
                  <a:pt x="0" y="0"/>
                </a:lnTo>
                <a:lnTo>
                  <a:pt x="0" y="185554"/>
                </a:lnTo>
                <a:lnTo>
                  <a:pt x="50134" y="185554"/>
                </a:lnTo>
                <a:lnTo>
                  <a:pt x="501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1" name="bg object 21">
            <a:extLst>
              <a:ext uri="{FF2B5EF4-FFF2-40B4-BE49-F238E27FC236}">
                <a16:creationId xmlns:a16="http://schemas.microsoft.com/office/drawing/2014/main" id="{9C20157B-B0B1-1D0B-5E27-D780FCA07250}"/>
              </a:ext>
            </a:extLst>
          </p:cNvPr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8778226" y="11017713"/>
            <a:ext cx="146738" cy="190748"/>
          </a:xfrm>
          <a:prstGeom prst="rect">
            <a:avLst/>
          </a:prstGeom>
        </p:spPr>
      </p:pic>
      <p:sp>
        <p:nvSpPr>
          <p:cNvPr id="12" name="bg object 22">
            <a:extLst>
              <a:ext uri="{FF2B5EF4-FFF2-40B4-BE49-F238E27FC236}">
                <a16:creationId xmlns:a16="http://schemas.microsoft.com/office/drawing/2014/main" id="{56BD63D8-F0E6-2A0B-0F79-513C9214E963}"/>
              </a:ext>
            </a:extLst>
          </p:cNvPr>
          <p:cNvSpPr/>
          <p:nvPr userDrawn="1"/>
        </p:nvSpPr>
        <p:spPr>
          <a:xfrm>
            <a:off x="18952884" y="11020512"/>
            <a:ext cx="109855" cy="185420"/>
          </a:xfrm>
          <a:custGeom>
            <a:avLst/>
            <a:gdLst/>
            <a:ahLst/>
            <a:cxnLst/>
            <a:rect l="l" t="t" r="r" b="b"/>
            <a:pathLst>
              <a:path w="109855" h="185420">
                <a:moveTo>
                  <a:pt x="109601" y="0"/>
                </a:moveTo>
                <a:lnTo>
                  <a:pt x="0" y="0"/>
                </a:lnTo>
                <a:lnTo>
                  <a:pt x="0" y="40640"/>
                </a:lnTo>
                <a:lnTo>
                  <a:pt x="0" y="69850"/>
                </a:lnTo>
                <a:lnTo>
                  <a:pt x="0" y="109220"/>
                </a:lnTo>
                <a:lnTo>
                  <a:pt x="0" y="144780"/>
                </a:lnTo>
                <a:lnTo>
                  <a:pt x="0" y="185420"/>
                </a:lnTo>
                <a:lnTo>
                  <a:pt x="109601" y="185420"/>
                </a:lnTo>
                <a:lnTo>
                  <a:pt x="109601" y="144780"/>
                </a:lnTo>
                <a:lnTo>
                  <a:pt x="49885" y="144780"/>
                </a:lnTo>
                <a:lnTo>
                  <a:pt x="49885" y="109220"/>
                </a:lnTo>
                <a:lnTo>
                  <a:pt x="105181" y="109220"/>
                </a:lnTo>
                <a:lnTo>
                  <a:pt x="105181" y="69850"/>
                </a:lnTo>
                <a:lnTo>
                  <a:pt x="49885" y="69850"/>
                </a:lnTo>
                <a:lnTo>
                  <a:pt x="49885" y="40640"/>
                </a:lnTo>
                <a:lnTo>
                  <a:pt x="109601" y="40640"/>
                </a:lnTo>
                <a:lnTo>
                  <a:pt x="109601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3" name="bg object 23">
            <a:extLst>
              <a:ext uri="{FF2B5EF4-FFF2-40B4-BE49-F238E27FC236}">
                <a16:creationId xmlns:a16="http://schemas.microsoft.com/office/drawing/2014/main" id="{F61D7901-DF1A-271E-6FCB-232B840B52F6}"/>
              </a:ext>
            </a:extLst>
          </p:cNvPr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8055059" y="11302723"/>
            <a:ext cx="235657" cy="180287"/>
          </a:xfrm>
          <a:prstGeom prst="rect">
            <a:avLst/>
          </a:prstGeom>
        </p:spPr>
      </p:pic>
      <p:sp>
        <p:nvSpPr>
          <p:cNvPr id="14" name="bg object 24">
            <a:extLst>
              <a:ext uri="{FF2B5EF4-FFF2-40B4-BE49-F238E27FC236}">
                <a16:creationId xmlns:a16="http://schemas.microsoft.com/office/drawing/2014/main" id="{EF8EF1B4-ABB7-CD37-99EA-524D9B4CE3F9}"/>
              </a:ext>
            </a:extLst>
          </p:cNvPr>
          <p:cNvSpPr/>
          <p:nvPr userDrawn="1"/>
        </p:nvSpPr>
        <p:spPr>
          <a:xfrm>
            <a:off x="18316233" y="11302681"/>
            <a:ext cx="362585" cy="180340"/>
          </a:xfrm>
          <a:custGeom>
            <a:avLst/>
            <a:gdLst/>
            <a:ahLst/>
            <a:cxnLst/>
            <a:rect l="l" t="t" r="r" b="b"/>
            <a:pathLst>
              <a:path w="362584" h="180340">
                <a:moveTo>
                  <a:pt x="29476" y="50"/>
                </a:moveTo>
                <a:lnTo>
                  <a:pt x="0" y="50"/>
                </a:lnTo>
                <a:lnTo>
                  <a:pt x="0" y="180340"/>
                </a:lnTo>
                <a:lnTo>
                  <a:pt x="29476" y="180340"/>
                </a:lnTo>
                <a:lnTo>
                  <a:pt x="29476" y="50"/>
                </a:lnTo>
                <a:close/>
              </a:path>
              <a:path w="362584" h="180340">
                <a:moveTo>
                  <a:pt x="192379" y="0"/>
                </a:moveTo>
                <a:lnTo>
                  <a:pt x="56845" y="0"/>
                </a:lnTo>
                <a:lnTo>
                  <a:pt x="56845" y="25400"/>
                </a:lnTo>
                <a:lnTo>
                  <a:pt x="109880" y="25400"/>
                </a:lnTo>
                <a:lnTo>
                  <a:pt x="109880" y="180340"/>
                </a:lnTo>
                <a:lnTo>
                  <a:pt x="139344" y="180340"/>
                </a:lnTo>
                <a:lnTo>
                  <a:pt x="139344" y="25400"/>
                </a:lnTo>
                <a:lnTo>
                  <a:pt x="192379" y="25400"/>
                </a:lnTo>
                <a:lnTo>
                  <a:pt x="192379" y="0"/>
                </a:lnTo>
                <a:close/>
              </a:path>
              <a:path w="362584" h="180340">
                <a:moveTo>
                  <a:pt x="362191" y="0"/>
                </a:moveTo>
                <a:lnTo>
                  <a:pt x="332587" y="0"/>
                </a:lnTo>
                <a:lnTo>
                  <a:pt x="332587" y="73660"/>
                </a:lnTo>
                <a:lnTo>
                  <a:pt x="249478" y="73660"/>
                </a:lnTo>
                <a:lnTo>
                  <a:pt x="249478" y="0"/>
                </a:lnTo>
                <a:lnTo>
                  <a:pt x="220002" y="0"/>
                </a:lnTo>
                <a:lnTo>
                  <a:pt x="220002" y="73660"/>
                </a:lnTo>
                <a:lnTo>
                  <a:pt x="220002" y="99060"/>
                </a:lnTo>
                <a:lnTo>
                  <a:pt x="220002" y="180340"/>
                </a:lnTo>
                <a:lnTo>
                  <a:pt x="249478" y="180340"/>
                </a:lnTo>
                <a:lnTo>
                  <a:pt x="249478" y="99060"/>
                </a:lnTo>
                <a:lnTo>
                  <a:pt x="332587" y="99060"/>
                </a:lnTo>
                <a:lnTo>
                  <a:pt x="332587" y="180340"/>
                </a:lnTo>
                <a:lnTo>
                  <a:pt x="362191" y="180340"/>
                </a:lnTo>
                <a:lnTo>
                  <a:pt x="362191" y="99060"/>
                </a:lnTo>
                <a:lnTo>
                  <a:pt x="362191" y="73660"/>
                </a:lnTo>
                <a:lnTo>
                  <a:pt x="362191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5" name="bg object 25">
            <a:extLst>
              <a:ext uri="{FF2B5EF4-FFF2-40B4-BE49-F238E27FC236}">
                <a16:creationId xmlns:a16="http://schemas.microsoft.com/office/drawing/2014/main" id="{A0D25566-3464-9D8E-06DC-6209AC87E116}"/>
              </a:ext>
            </a:extLst>
          </p:cNvPr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8717022" y="11299886"/>
            <a:ext cx="168947" cy="185596"/>
          </a:xfrm>
          <a:prstGeom prst="rect">
            <a:avLst/>
          </a:prstGeom>
        </p:spPr>
      </p:pic>
      <p:pic>
        <p:nvPicPr>
          <p:cNvPr id="16" name="bg object 26">
            <a:extLst>
              <a:ext uri="{FF2B5EF4-FFF2-40B4-BE49-F238E27FC236}">
                <a16:creationId xmlns:a16="http://schemas.microsoft.com/office/drawing/2014/main" id="{19804E9A-3ED0-672E-4397-6EF84DDF4989}"/>
              </a:ext>
            </a:extLst>
          </p:cNvPr>
          <p:cNvPicPr/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8923085" y="11302724"/>
            <a:ext cx="142927" cy="182758"/>
          </a:xfrm>
          <a:prstGeom prst="rect">
            <a:avLst/>
          </a:prstGeom>
        </p:spPr>
      </p:pic>
      <p:sp>
        <p:nvSpPr>
          <p:cNvPr id="17" name="bg object 27">
            <a:extLst>
              <a:ext uri="{FF2B5EF4-FFF2-40B4-BE49-F238E27FC236}">
                <a16:creationId xmlns:a16="http://schemas.microsoft.com/office/drawing/2014/main" id="{8C34C2E5-93A6-E984-ED79-44324E4E065E}"/>
              </a:ext>
            </a:extLst>
          </p:cNvPr>
          <p:cNvSpPr/>
          <p:nvPr userDrawn="1"/>
        </p:nvSpPr>
        <p:spPr>
          <a:xfrm>
            <a:off x="19091898" y="11302681"/>
            <a:ext cx="135890" cy="180340"/>
          </a:xfrm>
          <a:custGeom>
            <a:avLst/>
            <a:gdLst/>
            <a:ahLst/>
            <a:cxnLst/>
            <a:rect l="l" t="t" r="r" b="b"/>
            <a:pathLst>
              <a:path w="135890" h="180340">
                <a:moveTo>
                  <a:pt x="135534" y="0"/>
                </a:moveTo>
                <a:lnTo>
                  <a:pt x="0" y="0"/>
                </a:lnTo>
                <a:lnTo>
                  <a:pt x="0" y="25400"/>
                </a:lnTo>
                <a:lnTo>
                  <a:pt x="53022" y="25400"/>
                </a:lnTo>
                <a:lnTo>
                  <a:pt x="53022" y="180340"/>
                </a:lnTo>
                <a:lnTo>
                  <a:pt x="82499" y="180340"/>
                </a:lnTo>
                <a:lnTo>
                  <a:pt x="82499" y="25400"/>
                </a:lnTo>
                <a:lnTo>
                  <a:pt x="135534" y="25400"/>
                </a:lnTo>
                <a:lnTo>
                  <a:pt x="1355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18" name="bg object 28">
            <a:extLst>
              <a:ext uri="{FF2B5EF4-FFF2-40B4-BE49-F238E27FC236}">
                <a16:creationId xmlns:a16="http://schemas.microsoft.com/office/drawing/2014/main" id="{5DE85829-EF3A-15F1-D892-D6E656989BE3}"/>
              </a:ext>
            </a:extLst>
          </p:cNvPr>
          <p:cNvSpPr/>
          <p:nvPr userDrawn="1"/>
        </p:nvSpPr>
        <p:spPr>
          <a:xfrm>
            <a:off x="18065725" y="11566511"/>
            <a:ext cx="142875" cy="180975"/>
          </a:xfrm>
          <a:custGeom>
            <a:avLst/>
            <a:gdLst/>
            <a:ahLst/>
            <a:cxnLst/>
            <a:rect l="l" t="t" r="r" b="b"/>
            <a:pathLst>
              <a:path w="142875" h="180975">
                <a:moveTo>
                  <a:pt x="98767" y="169303"/>
                </a:moveTo>
                <a:lnTo>
                  <a:pt x="12598" y="169303"/>
                </a:lnTo>
                <a:lnTo>
                  <a:pt x="12598" y="393"/>
                </a:lnTo>
                <a:lnTo>
                  <a:pt x="0" y="393"/>
                </a:lnTo>
                <a:lnTo>
                  <a:pt x="0" y="169303"/>
                </a:lnTo>
                <a:lnTo>
                  <a:pt x="0" y="180733"/>
                </a:lnTo>
                <a:lnTo>
                  <a:pt x="98767" y="180733"/>
                </a:lnTo>
                <a:lnTo>
                  <a:pt x="98767" y="169303"/>
                </a:lnTo>
                <a:close/>
              </a:path>
              <a:path w="142875" h="180975">
                <a:moveTo>
                  <a:pt x="142532" y="0"/>
                </a:moveTo>
                <a:lnTo>
                  <a:pt x="129921" y="0"/>
                </a:lnTo>
                <a:lnTo>
                  <a:pt x="129921" y="180733"/>
                </a:lnTo>
                <a:lnTo>
                  <a:pt x="142532" y="180733"/>
                </a:lnTo>
                <a:lnTo>
                  <a:pt x="142532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19" name="bg object 29">
            <a:extLst>
              <a:ext uri="{FF2B5EF4-FFF2-40B4-BE49-F238E27FC236}">
                <a16:creationId xmlns:a16="http://schemas.microsoft.com/office/drawing/2014/main" id="{60E3E7F8-8789-0543-E8F1-7C8616978489}"/>
              </a:ext>
            </a:extLst>
          </p:cNvPr>
          <p:cNvSpPr/>
          <p:nvPr userDrawn="1"/>
        </p:nvSpPr>
        <p:spPr>
          <a:xfrm>
            <a:off x="18235080" y="11566511"/>
            <a:ext cx="170180" cy="180975"/>
          </a:xfrm>
          <a:custGeom>
            <a:avLst/>
            <a:gdLst/>
            <a:ahLst/>
            <a:cxnLst/>
            <a:rect l="l" t="t" r="r" b="b"/>
            <a:pathLst>
              <a:path w="170180" h="180975">
                <a:moveTo>
                  <a:pt x="130175" y="393"/>
                </a:moveTo>
                <a:lnTo>
                  <a:pt x="0" y="393"/>
                </a:lnTo>
                <a:lnTo>
                  <a:pt x="0" y="11823"/>
                </a:lnTo>
                <a:lnTo>
                  <a:pt x="58724" y="11823"/>
                </a:lnTo>
                <a:lnTo>
                  <a:pt x="58724" y="180733"/>
                </a:lnTo>
                <a:lnTo>
                  <a:pt x="71450" y="180733"/>
                </a:lnTo>
                <a:lnTo>
                  <a:pt x="71450" y="11823"/>
                </a:lnTo>
                <a:lnTo>
                  <a:pt x="130175" y="11823"/>
                </a:lnTo>
                <a:lnTo>
                  <a:pt x="130175" y="393"/>
                </a:lnTo>
                <a:close/>
              </a:path>
              <a:path w="170180" h="180975">
                <a:moveTo>
                  <a:pt x="169608" y="0"/>
                </a:moveTo>
                <a:lnTo>
                  <a:pt x="156997" y="0"/>
                </a:lnTo>
                <a:lnTo>
                  <a:pt x="156997" y="180733"/>
                </a:lnTo>
                <a:lnTo>
                  <a:pt x="169608" y="180733"/>
                </a:lnTo>
                <a:lnTo>
                  <a:pt x="169608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20" name="bg object 30">
            <a:extLst>
              <a:ext uri="{FF2B5EF4-FFF2-40B4-BE49-F238E27FC236}">
                <a16:creationId xmlns:a16="http://schemas.microsoft.com/office/drawing/2014/main" id="{C8F877B1-BF20-80D7-9D5B-0F0F5499E35F}"/>
              </a:ext>
            </a:extLst>
          </p:cNvPr>
          <p:cNvPicPr/>
          <p:nvPr userDrawn="1"/>
        </p:nvPicPr>
        <p:blipFill>
          <a:blip r:embed="rId9" cstate="print"/>
          <a:stretch>
            <a:fillRect/>
          </a:stretch>
        </p:blipFill>
        <p:spPr>
          <a:xfrm>
            <a:off x="18446220" y="11563659"/>
            <a:ext cx="147367" cy="186046"/>
          </a:xfrm>
          <a:prstGeom prst="rect">
            <a:avLst/>
          </a:prstGeom>
        </p:spPr>
      </p:pic>
      <p:pic>
        <p:nvPicPr>
          <p:cNvPr id="21" name="bg object 31">
            <a:extLst>
              <a:ext uri="{FF2B5EF4-FFF2-40B4-BE49-F238E27FC236}">
                <a16:creationId xmlns:a16="http://schemas.microsoft.com/office/drawing/2014/main" id="{D8216818-0DB5-F17B-281F-2551A2B6D37E}"/>
              </a:ext>
            </a:extLst>
          </p:cNvPr>
          <p:cNvPicPr/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18613357" y="11565767"/>
            <a:ext cx="283342" cy="181470"/>
          </a:xfrm>
          <a:prstGeom prst="rect">
            <a:avLst/>
          </a:prstGeom>
        </p:spPr>
      </p:pic>
      <p:sp>
        <p:nvSpPr>
          <p:cNvPr id="22" name="bg object 32">
            <a:extLst>
              <a:ext uri="{FF2B5EF4-FFF2-40B4-BE49-F238E27FC236}">
                <a16:creationId xmlns:a16="http://schemas.microsoft.com/office/drawing/2014/main" id="{2F2B908B-DA14-7CA5-9259-EE2269E03E53}"/>
              </a:ext>
            </a:extLst>
          </p:cNvPr>
          <p:cNvSpPr/>
          <p:nvPr userDrawn="1"/>
        </p:nvSpPr>
        <p:spPr>
          <a:xfrm>
            <a:off x="18923528" y="11566506"/>
            <a:ext cx="12700" cy="180975"/>
          </a:xfrm>
          <a:custGeom>
            <a:avLst/>
            <a:gdLst/>
            <a:ahLst/>
            <a:cxnLst/>
            <a:rect l="l" t="t" r="r" b="b"/>
            <a:pathLst>
              <a:path w="12700" h="180975">
                <a:moveTo>
                  <a:pt x="12606" y="0"/>
                </a:moveTo>
                <a:lnTo>
                  <a:pt x="0" y="0"/>
                </a:lnTo>
                <a:lnTo>
                  <a:pt x="0" y="180727"/>
                </a:lnTo>
                <a:lnTo>
                  <a:pt x="12606" y="180727"/>
                </a:lnTo>
                <a:lnTo>
                  <a:pt x="12606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23" name="bg object 33">
            <a:extLst>
              <a:ext uri="{FF2B5EF4-FFF2-40B4-BE49-F238E27FC236}">
                <a16:creationId xmlns:a16="http://schemas.microsoft.com/office/drawing/2014/main" id="{F5A84B53-6274-2F9F-55E8-1097ECABD724}"/>
              </a:ext>
            </a:extLst>
          </p:cNvPr>
          <p:cNvPicPr/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18977667" y="11563661"/>
            <a:ext cx="161576" cy="186046"/>
          </a:xfrm>
          <a:prstGeom prst="rect">
            <a:avLst/>
          </a:prstGeom>
        </p:spPr>
      </p:pic>
      <p:pic>
        <p:nvPicPr>
          <p:cNvPr id="24" name="bg object 34">
            <a:extLst>
              <a:ext uri="{FF2B5EF4-FFF2-40B4-BE49-F238E27FC236}">
                <a16:creationId xmlns:a16="http://schemas.microsoft.com/office/drawing/2014/main" id="{6F3102E6-9257-27F9-5171-20EF4B948066}"/>
              </a:ext>
            </a:extLst>
          </p:cNvPr>
          <p:cNvPicPr/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19180778" y="11566509"/>
            <a:ext cx="131409" cy="180727"/>
          </a:xfrm>
          <a:prstGeom prst="rect">
            <a:avLst/>
          </a:prstGeom>
        </p:spPr>
      </p:pic>
      <p:sp>
        <p:nvSpPr>
          <p:cNvPr id="25" name="bg object 35">
            <a:extLst>
              <a:ext uri="{FF2B5EF4-FFF2-40B4-BE49-F238E27FC236}">
                <a16:creationId xmlns:a16="http://schemas.microsoft.com/office/drawing/2014/main" id="{DB0A0CD7-A6EE-E9A5-8BF1-DD15207EFBD8}"/>
              </a:ext>
            </a:extLst>
          </p:cNvPr>
          <p:cNvSpPr/>
          <p:nvPr userDrawn="1"/>
        </p:nvSpPr>
        <p:spPr>
          <a:xfrm>
            <a:off x="17305002" y="11018376"/>
            <a:ext cx="513715" cy="76200"/>
          </a:xfrm>
          <a:custGeom>
            <a:avLst/>
            <a:gdLst/>
            <a:ahLst/>
            <a:cxnLst/>
            <a:rect l="l" t="t" r="r" b="b"/>
            <a:pathLst>
              <a:path w="513715" h="76200">
                <a:moveTo>
                  <a:pt x="513418" y="0"/>
                </a:moveTo>
                <a:lnTo>
                  <a:pt x="0" y="0"/>
                </a:lnTo>
                <a:lnTo>
                  <a:pt x="0" y="76050"/>
                </a:lnTo>
                <a:lnTo>
                  <a:pt x="513418" y="76050"/>
                </a:lnTo>
                <a:lnTo>
                  <a:pt x="513418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6" name="bg object 36">
            <a:extLst>
              <a:ext uri="{FF2B5EF4-FFF2-40B4-BE49-F238E27FC236}">
                <a16:creationId xmlns:a16="http://schemas.microsoft.com/office/drawing/2014/main" id="{6C492F15-C414-43A1-8D9F-5730D6611528}"/>
              </a:ext>
            </a:extLst>
          </p:cNvPr>
          <p:cNvSpPr/>
          <p:nvPr userDrawn="1"/>
        </p:nvSpPr>
        <p:spPr>
          <a:xfrm>
            <a:off x="497344" y="0"/>
            <a:ext cx="630555" cy="4417695"/>
          </a:xfrm>
          <a:custGeom>
            <a:avLst/>
            <a:gdLst/>
            <a:ahLst/>
            <a:cxnLst/>
            <a:rect l="l" t="t" r="r" b="b"/>
            <a:pathLst>
              <a:path w="630555" h="4417695">
                <a:moveTo>
                  <a:pt x="630242" y="4083639"/>
                </a:moveTo>
                <a:lnTo>
                  <a:pt x="630242" y="4073744"/>
                </a:lnTo>
                <a:lnTo>
                  <a:pt x="630106" y="4073859"/>
                </a:lnTo>
                <a:lnTo>
                  <a:pt x="629855" y="4074090"/>
                </a:lnTo>
                <a:lnTo>
                  <a:pt x="629855" y="0"/>
                </a:lnTo>
              </a:path>
              <a:path w="630555" h="4417695">
                <a:moveTo>
                  <a:pt x="2434" y="0"/>
                </a:moveTo>
                <a:lnTo>
                  <a:pt x="0" y="2699357"/>
                </a:lnTo>
                <a:lnTo>
                  <a:pt x="0" y="4417388"/>
                </a:lnTo>
                <a:lnTo>
                  <a:pt x="49735" y="4401593"/>
                </a:lnTo>
                <a:lnTo>
                  <a:pt x="98845" y="4384492"/>
                </a:lnTo>
                <a:lnTo>
                  <a:pt x="147304" y="4366102"/>
                </a:lnTo>
                <a:lnTo>
                  <a:pt x="195086" y="4346440"/>
                </a:lnTo>
                <a:lnTo>
                  <a:pt x="242168" y="4325523"/>
                </a:lnTo>
                <a:lnTo>
                  <a:pt x="288524" y="4303369"/>
                </a:lnTo>
                <a:lnTo>
                  <a:pt x="334129" y="4279994"/>
                </a:lnTo>
                <a:lnTo>
                  <a:pt x="378959" y="4255416"/>
                </a:lnTo>
                <a:lnTo>
                  <a:pt x="422987" y="4229652"/>
                </a:lnTo>
                <a:lnTo>
                  <a:pt x="466190" y="4202719"/>
                </a:lnTo>
                <a:lnTo>
                  <a:pt x="508541" y="4174634"/>
                </a:lnTo>
                <a:lnTo>
                  <a:pt x="550017" y="4145414"/>
                </a:lnTo>
                <a:lnTo>
                  <a:pt x="590593" y="4115077"/>
                </a:lnTo>
                <a:lnTo>
                  <a:pt x="630242" y="4083639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7" name="bg object 37">
            <a:extLst>
              <a:ext uri="{FF2B5EF4-FFF2-40B4-BE49-F238E27FC236}">
                <a16:creationId xmlns:a16="http://schemas.microsoft.com/office/drawing/2014/main" id="{95273ECD-A042-2984-27F3-C8FE3B8CC3CA}"/>
              </a:ext>
            </a:extLst>
          </p:cNvPr>
          <p:cNvSpPr/>
          <p:nvPr userDrawn="1"/>
        </p:nvSpPr>
        <p:spPr>
          <a:xfrm>
            <a:off x="15802178" y="448750"/>
            <a:ext cx="4302125" cy="677545"/>
          </a:xfrm>
          <a:custGeom>
            <a:avLst/>
            <a:gdLst/>
            <a:ahLst/>
            <a:cxnLst/>
            <a:rect l="l" t="t" r="r" b="b"/>
            <a:pathLst>
              <a:path w="4302125" h="677544">
                <a:moveTo>
                  <a:pt x="4301921" y="0"/>
                </a:moveTo>
                <a:lnTo>
                  <a:pt x="0" y="0"/>
                </a:lnTo>
                <a:lnTo>
                  <a:pt x="0" y="677036"/>
                </a:lnTo>
                <a:lnTo>
                  <a:pt x="4301921" y="67703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8" name="bg object 38">
            <a:extLst>
              <a:ext uri="{FF2B5EF4-FFF2-40B4-BE49-F238E27FC236}">
                <a16:creationId xmlns:a16="http://schemas.microsoft.com/office/drawing/2014/main" id="{804BA5DB-A0FE-04C2-A6CD-13A7F0B3DD5F}"/>
              </a:ext>
            </a:extLst>
          </p:cNvPr>
          <p:cNvSpPr/>
          <p:nvPr userDrawn="1"/>
        </p:nvSpPr>
        <p:spPr>
          <a:xfrm>
            <a:off x="15884111" y="10541781"/>
            <a:ext cx="4220210" cy="2306320"/>
          </a:xfrm>
          <a:custGeom>
            <a:avLst/>
            <a:gdLst/>
            <a:ahLst/>
            <a:cxnLst/>
            <a:rect l="l" t="t" r="r" b="b"/>
            <a:pathLst>
              <a:path w="4220209" h="2306320">
                <a:moveTo>
                  <a:pt x="4219988" y="815958"/>
                </a:moveTo>
                <a:lnTo>
                  <a:pt x="4191904" y="882755"/>
                </a:lnTo>
                <a:lnTo>
                  <a:pt x="4172368" y="925143"/>
                </a:lnTo>
                <a:lnTo>
                  <a:pt x="4151819" y="966953"/>
                </a:lnTo>
                <a:lnTo>
                  <a:pt x="4130274" y="1008168"/>
                </a:lnTo>
                <a:lnTo>
                  <a:pt x="4107749" y="1048774"/>
                </a:lnTo>
                <a:lnTo>
                  <a:pt x="4084260" y="1088754"/>
                </a:lnTo>
                <a:lnTo>
                  <a:pt x="4059821" y="1128093"/>
                </a:lnTo>
                <a:lnTo>
                  <a:pt x="4034449" y="1166773"/>
                </a:lnTo>
                <a:lnTo>
                  <a:pt x="4008160" y="1204781"/>
                </a:lnTo>
                <a:lnTo>
                  <a:pt x="3980969" y="1242098"/>
                </a:lnTo>
                <a:lnTo>
                  <a:pt x="3952893" y="1278711"/>
                </a:lnTo>
                <a:lnTo>
                  <a:pt x="3923946" y="1314603"/>
                </a:lnTo>
                <a:lnTo>
                  <a:pt x="3894144" y="1349757"/>
                </a:lnTo>
                <a:lnTo>
                  <a:pt x="3863505" y="1384159"/>
                </a:lnTo>
                <a:lnTo>
                  <a:pt x="3832042" y="1417791"/>
                </a:lnTo>
                <a:lnTo>
                  <a:pt x="3799772" y="1450639"/>
                </a:lnTo>
                <a:lnTo>
                  <a:pt x="3766711" y="1482687"/>
                </a:lnTo>
                <a:lnTo>
                  <a:pt x="3732874" y="1513918"/>
                </a:lnTo>
                <a:lnTo>
                  <a:pt x="3698277" y="1544317"/>
                </a:lnTo>
                <a:lnTo>
                  <a:pt x="3662937" y="1573867"/>
                </a:lnTo>
                <a:lnTo>
                  <a:pt x="3626868" y="1602554"/>
                </a:lnTo>
                <a:lnTo>
                  <a:pt x="3590086" y="1630360"/>
                </a:lnTo>
                <a:lnTo>
                  <a:pt x="3552607" y="1657271"/>
                </a:lnTo>
                <a:lnTo>
                  <a:pt x="3514448" y="1683270"/>
                </a:lnTo>
                <a:lnTo>
                  <a:pt x="3475623" y="1708341"/>
                </a:lnTo>
                <a:lnTo>
                  <a:pt x="3436148" y="1732468"/>
                </a:lnTo>
                <a:lnTo>
                  <a:pt x="3396040" y="1755637"/>
                </a:lnTo>
                <a:lnTo>
                  <a:pt x="3355314" y="1777830"/>
                </a:lnTo>
                <a:lnTo>
                  <a:pt x="3313985" y="1799031"/>
                </a:lnTo>
                <a:lnTo>
                  <a:pt x="3272070" y="1819226"/>
                </a:lnTo>
                <a:lnTo>
                  <a:pt x="3229584" y="1838398"/>
                </a:lnTo>
                <a:lnTo>
                  <a:pt x="3186543" y="1856530"/>
                </a:lnTo>
                <a:lnTo>
                  <a:pt x="3142962" y="1873609"/>
                </a:lnTo>
                <a:lnTo>
                  <a:pt x="3098858" y="1889616"/>
                </a:lnTo>
                <a:lnTo>
                  <a:pt x="3054247" y="1904537"/>
                </a:lnTo>
                <a:lnTo>
                  <a:pt x="3009143" y="1918356"/>
                </a:lnTo>
                <a:lnTo>
                  <a:pt x="2963563" y="1931056"/>
                </a:lnTo>
                <a:lnTo>
                  <a:pt x="2917522" y="1942622"/>
                </a:lnTo>
                <a:lnTo>
                  <a:pt x="2871037" y="1953038"/>
                </a:lnTo>
                <a:lnTo>
                  <a:pt x="2824123" y="1962288"/>
                </a:lnTo>
                <a:lnTo>
                  <a:pt x="2776795" y="1970357"/>
                </a:lnTo>
                <a:lnTo>
                  <a:pt x="2729070" y="1977227"/>
                </a:lnTo>
                <a:lnTo>
                  <a:pt x="2680963" y="1982885"/>
                </a:lnTo>
                <a:lnTo>
                  <a:pt x="2632491" y="1987312"/>
                </a:lnTo>
                <a:lnTo>
                  <a:pt x="2583668" y="1990494"/>
                </a:lnTo>
                <a:lnTo>
                  <a:pt x="2534510" y="1992415"/>
                </a:lnTo>
                <a:lnTo>
                  <a:pt x="2485034" y="1993059"/>
                </a:lnTo>
                <a:lnTo>
                  <a:pt x="2436764" y="1992447"/>
                </a:lnTo>
                <a:lnTo>
                  <a:pt x="2388796" y="1990619"/>
                </a:lnTo>
                <a:lnTo>
                  <a:pt x="2341143" y="1987591"/>
                </a:lnTo>
                <a:lnTo>
                  <a:pt x="2293821" y="1983377"/>
                </a:lnTo>
                <a:lnTo>
                  <a:pt x="2246844" y="1977992"/>
                </a:lnTo>
                <a:lnTo>
                  <a:pt x="2200227" y="1971450"/>
                </a:lnTo>
                <a:lnTo>
                  <a:pt x="2153985" y="1963767"/>
                </a:lnTo>
                <a:lnTo>
                  <a:pt x="2108132" y="1954958"/>
                </a:lnTo>
                <a:lnTo>
                  <a:pt x="2062683" y="1945036"/>
                </a:lnTo>
                <a:lnTo>
                  <a:pt x="2017652" y="1934016"/>
                </a:lnTo>
                <a:lnTo>
                  <a:pt x="1973055" y="1921914"/>
                </a:lnTo>
                <a:lnTo>
                  <a:pt x="1928906" y="1908745"/>
                </a:lnTo>
                <a:lnTo>
                  <a:pt x="1885220" y="1894521"/>
                </a:lnTo>
                <a:lnTo>
                  <a:pt x="1842011" y="1879260"/>
                </a:lnTo>
                <a:lnTo>
                  <a:pt x="1799294" y="1862975"/>
                </a:lnTo>
                <a:lnTo>
                  <a:pt x="1757084" y="1845680"/>
                </a:lnTo>
                <a:lnTo>
                  <a:pt x="1715395" y="1827392"/>
                </a:lnTo>
                <a:lnTo>
                  <a:pt x="1674242" y="1808123"/>
                </a:lnTo>
                <a:lnTo>
                  <a:pt x="1633641" y="1787890"/>
                </a:lnTo>
                <a:lnTo>
                  <a:pt x="1593605" y="1766707"/>
                </a:lnTo>
                <a:lnTo>
                  <a:pt x="1554149" y="1744589"/>
                </a:lnTo>
                <a:lnTo>
                  <a:pt x="1515288" y="1721550"/>
                </a:lnTo>
                <a:lnTo>
                  <a:pt x="1477037" y="1697605"/>
                </a:lnTo>
                <a:lnTo>
                  <a:pt x="1439410" y="1672769"/>
                </a:lnTo>
                <a:lnTo>
                  <a:pt x="1402422" y="1647056"/>
                </a:lnTo>
                <a:lnTo>
                  <a:pt x="1366087" y="1620482"/>
                </a:lnTo>
                <a:lnTo>
                  <a:pt x="1330421" y="1593060"/>
                </a:lnTo>
                <a:lnTo>
                  <a:pt x="1295438" y="1564807"/>
                </a:lnTo>
                <a:lnTo>
                  <a:pt x="1261153" y="1535736"/>
                </a:lnTo>
                <a:lnTo>
                  <a:pt x="1227580" y="1505862"/>
                </a:lnTo>
                <a:lnTo>
                  <a:pt x="1194734" y="1475200"/>
                </a:lnTo>
                <a:lnTo>
                  <a:pt x="1162630" y="1443764"/>
                </a:lnTo>
                <a:lnTo>
                  <a:pt x="1131283" y="1411570"/>
                </a:lnTo>
                <a:lnTo>
                  <a:pt x="1100707" y="1378633"/>
                </a:lnTo>
                <a:lnTo>
                  <a:pt x="1070916" y="1344966"/>
                </a:lnTo>
                <a:lnTo>
                  <a:pt x="1041926" y="1310584"/>
                </a:lnTo>
                <a:lnTo>
                  <a:pt x="1013752" y="1275503"/>
                </a:lnTo>
                <a:lnTo>
                  <a:pt x="986407" y="1239737"/>
                </a:lnTo>
                <a:lnTo>
                  <a:pt x="959907" y="1203301"/>
                </a:lnTo>
                <a:lnTo>
                  <a:pt x="934266" y="1166209"/>
                </a:lnTo>
                <a:lnTo>
                  <a:pt x="909500" y="1128476"/>
                </a:lnTo>
                <a:lnTo>
                  <a:pt x="885621" y="1090118"/>
                </a:lnTo>
                <a:lnTo>
                  <a:pt x="862647" y="1051148"/>
                </a:lnTo>
                <a:lnTo>
                  <a:pt x="840590" y="1011581"/>
                </a:lnTo>
                <a:lnTo>
                  <a:pt x="819466" y="971433"/>
                </a:lnTo>
                <a:lnTo>
                  <a:pt x="799290" y="930717"/>
                </a:lnTo>
                <a:lnTo>
                  <a:pt x="780076" y="889449"/>
                </a:lnTo>
                <a:lnTo>
                  <a:pt x="761838" y="847644"/>
                </a:lnTo>
                <a:lnTo>
                  <a:pt x="744592" y="805315"/>
                </a:lnTo>
                <a:lnTo>
                  <a:pt x="728352" y="762479"/>
                </a:lnTo>
                <a:lnTo>
                  <a:pt x="713133" y="719148"/>
                </a:lnTo>
                <a:lnTo>
                  <a:pt x="698950" y="675339"/>
                </a:lnTo>
                <a:lnTo>
                  <a:pt x="685817" y="631066"/>
                </a:lnTo>
                <a:lnTo>
                  <a:pt x="673749" y="586344"/>
                </a:lnTo>
                <a:lnTo>
                  <a:pt x="662760" y="541187"/>
                </a:lnTo>
                <a:lnTo>
                  <a:pt x="652866" y="495610"/>
                </a:lnTo>
                <a:lnTo>
                  <a:pt x="644081" y="449629"/>
                </a:lnTo>
                <a:lnTo>
                  <a:pt x="636419" y="403256"/>
                </a:lnTo>
                <a:lnTo>
                  <a:pt x="629896" y="356509"/>
                </a:lnTo>
                <a:lnTo>
                  <a:pt x="624526" y="309400"/>
                </a:lnTo>
                <a:lnTo>
                  <a:pt x="620324" y="261945"/>
                </a:lnTo>
                <a:lnTo>
                  <a:pt x="617304" y="214159"/>
                </a:lnTo>
                <a:lnTo>
                  <a:pt x="615482" y="166055"/>
                </a:lnTo>
                <a:lnTo>
                  <a:pt x="614871" y="117650"/>
                </a:lnTo>
                <a:lnTo>
                  <a:pt x="615459" y="88007"/>
                </a:lnTo>
                <a:lnTo>
                  <a:pt x="616934" y="58593"/>
                </a:lnTo>
                <a:lnTo>
                  <a:pt x="618864" y="29295"/>
                </a:lnTo>
                <a:lnTo>
                  <a:pt x="620818" y="0"/>
                </a:lnTo>
                <a:lnTo>
                  <a:pt x="0" y="0"/>
                </a:lnTo>
                <a:lnTo>
                  <a:pt x="0" y="112425"/>
                </a:lnTo>
                <a:lnTo>
                  <a:pt x="462" y="160786"/>
                </a:lnTo>
                <a:lnTo>
                  <a:pt x="1844" y="208927"/>
                </a:lnTo>
                <a:lnTo>
                  <a:pt x="4137" y="256837"/>
                </a:lnTo>
                <a:lnTo>
                  <a:pt x="7333" y="304511"/>
                </a:lnTo>
                <a:lnTo>
                  <a:pt x="11422" y="351938"/>
                </a:lnTo>
                <a:lnTo>
                  <a:pt x="16398" y="399110"/>
                </a:lnTo>
                <a:lnTo>
                  <a:pt x="22251" y="446020"/>
                </a:lnTo>
                <a:lnTo>
                  <a:pt x="28973" y="492658"/>
                </a:lnTo>
                <a:lnTo>
                  <a:pt x="36555" y="539017"/>
                </a:lnTo>
                <a:lnTo>
                  <a:pt x="44990" y="585087"/>
                </a:lnTo>
                <a:lnTo>
                  <a:pt x="54268" y="630861"/>
                </a:lnTo>
                <a:lnTo>
                  <a:pt x="64382" y="676330"/>
                </a:lnTo>
                <a:lnTo>
                  <a:pt x="75322" y="721485"/>
                </a:lnTo>
                <a:lnTo>
                  <a:pt x="87081" y="766318"/>
                </a:lnTo>
                <a:lnTo>
                  <a:pt x="99650" y="810822"/>
                </a:lnTo>
                <a:lnTo>
                  <a:pt x="113021" y="854986"/>
                </a:lnTo>
                <a:lnTo>
                  <a:pt x="127185" y="898803"/>
                </a:lnTo>
                <a:lnTo>
                  <a:pt x="142133" y="942265"/>
                </a:lnTo>
                <a:lnTo>
                  <a:pt x="157858" y="985363"/>
                </a:lnTo>
                <a:lnTo>
                  <a:pt x="174351" y="1028088"/>
                </a:lnTo>
                <a:lnTo>
                  <a:pt x="191604" y="1070433"/>
                </a:lnTo>
                <a:lnTo>
                  <a:pt x="209607" y="1112388"/>
                </a:lnTo>
                <a:lnTo>
                  <a:pt x="228354" y="1153946"/>
                </a:lnTo>
                <a:lnTo>
                  <a:pt x="247835" y="1195098"/>
                </a:lnTo>
                <a:lnTo>
                  <a:pt x="268041" y="1235835"/>
                </a:lnTo>
                <a:lnTo>
                  <a:pt x="288965" y="1276149"/>
                </a:lnTo>
                <a:lnTo>
                  <a:pt x="310599" y="1316032"/>
                </a:lnTo>
                <a:lnTo>
                  <a:pt x="332932" y="1355475"/>
                </a:lnTo>
                <a:lnTo>
                  <a:pt x="355959" y="1394471"/>
                </a:lnTo>
                <a:lnTo>
                  <a:pt x="379668" y="1433009"/>
                </a:lnTo>
                <a:lnTo>
                  <a:pt x="404054" y="1471083"/>
                </a:lnTo>
                <a:lnTo>
                  <a:pt x="429106" y="1508683"/>
                </a:lnTo>
                <a:lnTo>
                  <a:pt x="454817" y="1545801"/>
                </a:lnTo>
                <a:lnTo>
                  <a:pt x="481178" y="1582429"/>
                </a:lnTo>
                <a:lnTo>
                  <a:pt x="508181" y="1618559"/>
                </a:lnTo>
                <a:lnTo>
                  <a:pt x="535817" y="1654181"/>
                </a:lnTo>
                <a:lnTo>
                  <a:pt x="564078" y="1689288"/>
                </a:lnTo>
                <a:lnTo>
                  <a:pt x="592956" y="1723871"/>
                </a:lnTo>
                <a:lnTo>
                  <a:pt x="622441" y="1757922"/>
                </a:lnTo>
                <a:lnTo>
                  <a:pt x="652527" y="1791432"/>
                </a:lnTo>
                <a:lnTo>
                  <a:pt x="683203" y="1824392"/>
                </a:lnTo>
                <a:lnTo>
                  <a:pt x="714463" y="1856796"/>
                </a:lnTo>
                <a:lnTo>
                  <a:pt x="746297" y="1888633"/>
                </a:lnTo>
                <a:lnTo>
                  <a:pt x="778697" y="1919895"/>
                </a:lnTo>
                <a:lnTo>
                  <a:pt x="811654" y="1950575"/>
                </a:lnTo>
                <a:lnTo>
                  <a:pt x="845161" y="1980664"/>
                </a:lnTo>
                <a:lnTo>
                  <a:pt x="879208" y="2010153"/>
                </a:lnTo>
                <a:lnTo>
                  <a:pt x="913788" y="2039033"/>
                </a:lnTo>
                <a:lnTo>
                  <a:pt x="948892" y="2067298"/>
                </a:lnTo>
                <a:lnTo>
                  <a:pt x="984511" y="2094937"/>
                </a:lnTo>
                <a:lnTo>
                  <a:pt x="1020637" y="2121943"/>
                </a:lnTo>
                <a:lnTo>
                  <a:pt x="1057262" y="2148307"/>
                </a:lnTo>
                <a:lnTo>
                  <a:pt x="1094378" y="2174021"/>
                </a:lnTo>
                <a:lnTo>
                  <a:pt x="1131975" y="2199077"/>
                </a:lnTo>
                <a:lnTo>
                  <a:pt x="1170046" y="2223465"/>
                </a:lnTo>
                <a:lnTo>
                  <a:pt x="1208582" y="2247178"/>
                </a:lnTo>
                <a:lnTo>
                  <a:pt x="1247574" y="2270207"/>
                </a:lnTo>
                <a:lnTo>
                  <a:pt x="1287014" y="2292544"/>
                </a:lnTo>
                <a:lnTo>
                  <a:pt x="1311807" y="2305994"/>
                </a:lnTo>
              </a:path>
              <a:path w="4220209" h="2306320">
                <a:moveTo>
                  <a:pt x="3669507" y="2305994"/>
                </a:moveTo>
                <a:lnTo>
                  <a:pt x="3733746" y="2270207"/>
                </a:lnTo>
                <a:lnTo>
                  <a:pt x="3772742" y="2247178"/>
                </a:lnTo>
                <a:lnTo>
                  <a:pt x="3811281" y="2223465"/>
                </a:lnTo>
                <a:lnTo>
                  <a:pt x="3849355" y="2199077"/>
                </a:lnTo>
                <a:lnTo>
                  <a:pt x="3886955" y="2174021"/>
                </a:lnTo>
                <a:lnTo>
                  <a:pt x="3924074" y="2148307"/>
                </a:lnTo>
                <a:lnTo>
                  <a:pt x="3960702" y="2121943"/>
                </a:lnTo>
                <a:lnTo>
                  <a:pt x="3996831" y="2094937"/>
                </a:lnTo>
                <a:lnTo>
                  <a:pt x="4032453" y="2067298"/>
                </a:lnTo>
                <a:lnTo>
                  <a:pt x="4067559" y="2039033"/>
                </a:lnTo>
                <a:lnTo>
                  <a:pt x="4102141" y="2010153"/>
                </a:lnTo>
                <a:lnTo>
                  <a:pt x="4136191" y="1980664"/>
                </a:lnTo>
                <a:lnTo>
                  <a:pt x="4169700" y="1950575"/>
                </a:lnTo>
                <a:lnTo>
                  <a:pt x="4202660" y="1919895"/>
                </a:lnTo>
                <a:lnTo>
                  <a:pt x="4219988" y="190317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9" name="Holder 6">
            <a:extLst>
              <a:ext uri="{FF2B5EF4-FFF2-40B4-BE49-F238E27FC236}">
                <a16:creationId xmlns:a16="http://schemas.microsoft.com/office/drawing/2014/main" id="{88EC4334-A745-2B72-B7CA-57F0ABA30888}"/>
              </a:ext>
            </a:extLst>
          </p:cNvPr>
          <p:cNvSpPr txBox="1">
            <a:spLocks/>
          </p:cNvSpPr>
          <p:nvPr userDrawn="1"/>
        </p:nvSpPr>
        <p:spPr>
          <a:xfrm>
            <a:off x="1689596" y="12106784"/>
            <a:ext cx="299085" cy="24828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1450" b="0" i="0" kern="1200">
                <a:solidFill>
                  <a:srgbClr val="A78A4C"/>
                </a:solidFill>
                <a:latin typeface="HelveticaNeue-Light"/>
                <a:ea typeface="+mn-ea"/>
                <a:cs typeface="HelveticaNeue-Ligh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85"/>
              </a:spcBef>
            </a:pPr>
            <a:fld id="{81D60167-4931-47E6-BA6A-407CBD079E47}" type="slidenum">
              <a:rPr lang="en-US" spc="15" smtClean="0"/>
              <a:pPr marL="38100">
                <a:spcBef>
                  <a:spcPts val="85"/>
                </a:spcBef>
              </a:pPr>
              <a:t>‹#›</a:t>
            </a:fld>
            <a:endParaRPr lang="en-US" spc="15" dirty="0"/>
          </a:p>
        </p:txBody>
      </p:sp>
    </p:spTree>
    <p:extLst>
      <p:ext uri="{BB962C8B-B14F-4D97-AF65-F5344CB8AC3E}">
        <p14:creationId xmlns:p14="http://schemas.microsoft.com/office/powerpoint/2010/main" val="24058775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F69CEF-E5AF-E985-5C09-CBD3689153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bg object 16">
            <a:extLst>
              <a:ext uri="{FF2B5EF4-FFF2-40B4-BE49-F238E27FC236}">
                <a16:creationId xmlns:a16="http://schemas.microsoft.com/office/drawing/2014/main" id="{BC3C8CC5-FB04-760C-10DF-8B8B8E63FE89}"/>
              </a:ext>
            </a:extLst>
          </p:cNvPr>
          <p:cNvSpPr/>
          <p:nvPr userDrawn="1"/>
        </p:nvSpPr>
        <p:spPr>
          <a:xfrm>
            <a:off x="17231199" y="11172070"/>
            <a:ext cx="587375" cy="579755"/>
          </a:xfrm>
          <a:custGeom>
            <a:avLst/>
            <a:gdLst/>
            <a:ahLst/>
            <a:cxnLst/>
            <a:rect l="l" t="t" r="r" b="b"/>
            <a:pathLst>
              <a:path w="587375" h="579754">
                <a:moveTo>
                  <a:pt x="587259" y="0"/>
                </a:moveTo>
                <a:lnTo>
                  <a:pt x="513460" y="0"/>
                </a:lnTo>
                <a:lnTo>
                  <a:pt x="513460" y="285687"/>
                </a:lnTo>
                <a:lnTo>
                  <a:pt x="507898" y="334898"/>
                </a:lnTo>
                <a:lnTo>
                  <a:pt x="492045" y="380220"/>
                </a:lnTo>
                <a:lnTo>
                  <a:pt x="467148" y="420422"/>
                </a:lnTo>
                <a:lnTo>
                  <a:pt x="434457" y="454279"/>
                </a:lnTo>
                <a:lnTo>
                  <a:pt x="434457" y="0"/>
                </a:lnTo>
                <a:lnTo>
                  <a:pt x="358407" y="0"/>
                </a:lnTo>
                <a:lnTo>
                  <a:pt x="358407" y="495754"/>
                </a:lnTo>
                <a:lnTo>
                  <a:pt x="342810" y="499947"/>
                </a:lnTo>
                <a:lnTo>
                  <a:pt x="326785" y="503005"/>
                </a:lnTo>
                <a:lnTo>
                  <a:pt x="310376" y="504877"/>
                </a:lnTo>
                <a:lnTo>
                  <a:pt x="293624" y="505513"/>
                </a:lnTo>
                <a:lnTo>
                  <a:pt x="249374" y="501039"/>
                </a:lnTo>
                <a:lnTo>
                  <a:pt x="208134" y="488212"/>
                </a:lnTo>
                <a:lnTo>
                  <a:pt x="170795" y="467921"/>
                </a:lnTo>
                <a:lnTo>
                  <a:pt x="138248" y="441058"/>
                </a:lnTo>
                <a:lnTo>
                  <a:pt x="111383" y="408513"/>
                </a:lnTo>
                <a:lnTo>
                  <a:pt x="91090" y="371175"/>
                </a:lnTo>
                <a:lnTo>
                  <a:pt x="78262" y="329937"/>
                </a:lnTo>
                <a:lnTo>
                  <a:pt x="73788" y="285687"/>
                </a:lnTo>
                <a:lnTo>
                  <a:pt x="73788" y="272431"/>
                </a:lnTo>
                <a:lnTo>
                  <a:pt x="0" y="272431"/>
                </a:lnTo>
                <a:lnTo>
                  <a:pt x="0" y="285687"/>
                </a:lnTo>
                <a:lnTo>
                  <a:pt x="3850" y="333251"/>
                </a:lnTo>
                <a:lnTo>
                  <a:pt x="14995" y="378394"/>
                </a:lnTo>
                <a:lnTo>
                  <a:pt x="32825" y="420508"/>
                </a:lnTo>
                <a:lnTo>
                  <a:pt x="56731" y="458984"/>
                </a:lnTo>
                <a:lnTo>
                  <a:pt x="86103" y="493212"/>
                </a:lnTo>
                <a:lnTo>
                  <a:pt x="120332" y="522583"/>
                </a:lnTo>
                <a:lnTo>
                  <a:pt x="158808" y="546488"/>
                </a:lnTo>
                <a:lnTo>
                  <a:pt x="200921" y="564317"/>
                </a:lnTo>
                <a:lnTo>
                  <a:pt x="246063" y="575462"/>
                </a:lnTo>
                <a:lnTo>
                  <a:pt x="293624" y="579312"/>
                </a:lnTo>
                <a:lnTo>
                  <a:pt x="341190" y="575462"/>
                </a:lnTo>
                <a:lnTo>
                  <a:pt x="386336" y="564317"/>
                </a:lnTo>
                <a:lnTo>
                  <a:pt x="428452" y="546488"/>
                </a:lnTo>
                <a:lnTo>
                  <a:pt x="466929" y="522583"/>
                </a:lnTo>
                <a:lnTo>
                  <a:pt x="501158" y="493212"/>
                </a:lnTo>
                <a:lnTo>
                  <a:pt x="530530" y="458984"/>
                </a:lnTo>
                <a:lnTo>
                  <a:pt x="554435" y="420508"/>
                </a:lnTo>
                <a:lnTo>
                  <a:pt x="572265" y="378394"/>
                </a:lnTo>
                <a:lnTo>
                  <a:pt x="583409" y="333251"/>
                </a:lnTo>
                <a:lnTo>
                  <a:pt x="587259" y="285687"/>
                </a:lnTo>
                <a:lnTo>
                  <a:pt x="587259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6" name="bg object 17">
            <a:extLst>
              <a:ext uri="{FF2B5EF4-FFF2-40B4-BE49-F238E27FC236}">
                <a16:creationId xmlns:a16="http://schemas.microsoft.com/office/drawing/2014/main" id="{ECE34AF9-3D65-E6B7-5C0D-3259A6685B21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8065731" y="11020372"/>
            <a:ext cx="91557" cy="243814"/>
          </a:xfrm>
          <a:prstGeom prst="rect">
            <a:avLst/>
          </a:prstGeom>
        </p:spPr>
      </p:pic>
      <p:pic>
        <p:nvPicPr>
          <p:cNvPr id="7" name="bg object 18">
            <a:extLst>
              <a:ext uri="{FF2B5EF4-FFF2-40B4-BE49-F238E27FC236}">
                <a16:creationId xmlns:a16="http://schemas.microsoft.com/office/drawing/2014/main" id="{76594A04-1CB9-5E44-C9E6-9C6061126F3D}"/>
              </a:ext>
            </a:extLst>
          </p:cNvPr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8196176" y="11020373"/>
            <a:ext cx="157984" cy="188088"/>
          </a:xfrm>
          <a:prstGeom prst="rect">
            <a:avLst/>
          </a:prstGeom>
        </p:spPr>
      </p:pic>
      <p:pic>
        <p:nvPicPr>
          <p:cNvPr id="8" name="bg object 19">
            <a:extLst>
              <a:ext uri="{FF2B5EF4-FFF2-40B4-BE49-F238E27FC236}">
                <a16:creationId xmlns:a16="http://schemas.microsoft.com/office/drawing/2014/main" id="{9589B72B-A802-DFEB-AE23-956DAA3D5FA3}"/>
              </a:ext>
            </a:extLst>
          </p:cNvPr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8384343" y="11017713"/>
            <a:ext cx="284270" cy="190748"/>
          </a:xfrm>
          <a:prstGeom prst="rect">
            <a:avLst/>
          </a:prstGeom>
        </p:spPr>
      </p:pic>
      <p:sp>
        <p:nvSpPr>
          <p:cNvPr id="9" name="bg object 20">
            <a:extLst>
              <a:ext uri="{FF2B5EF4-FFF2-40B4-BE49-F238E27FC236}">
                <a16:creationId xmlns:a16="http://schemas.microsoft.com/office/drawing/2014/main" id="{30F745EE-38A7-8C62-4ACA-2EC379C3D746}"/>
              </a:ext>
            </a:extLst>
          </p:cNvPr>
          <p:cNvSpPr/>
          <p:nvPr userDrawn="1"/>
        </p:nvSpPr>
        <p:spPr>
          <a:xfrm>
            <a:off x="18695001" y="11020376"/>
            <a:ext cx="50165" cy="186055"/>
          </a:xfrm>
          <a:custGeom>
            <a:avLst/>
            <a:gdLst/>
            <a:ahLst/>
            <a:cxnLst/>
            <a:rect l="l" t="t" r="r" b="b"/>
            <a:pathLst>
              <a:path w="50165" h="186054">
                <a:moveTo>
                  <a:pt x="50134" y="0"/>
                </a:moveTo>
                <a:lnTo>
                  <a:pt x="0" y="0"/>
                </a:lnTo>
                <a:lnTo>
                  <a:pt x="0" y="185554"/>
                </a:lnTo>
                <a:lnTo>
                  <a:pt x="50134" y="185554"/>
                </a:lnTo>
                <a:lnTo>
                  <a:pt x="501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0" name="bg object 21">
            <a:extLst>
              <a:ext uri="{FF2B5EF4-FFF2-40B4-BE49-F238E27FC236}">
                <a16:creationId xmlns:a16="http://schemas.microsoft.com/office/drawing/2014/main" id="{4D1E959D-B210-878A-643B-2245FA8C0F17}"/>
              </a:ext>
            </a:extLst>
          </p:cNvPr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8778226" y="11017713"/>
            <a:ext cx="146738" cy="190748"/>
          </a:xfrm>
          <a:prstGeom prst="rect">
            <a:avLst/>
          </a:prstGeom>
        </p:spPr>
      </p:pic>
      <p:sp>
        <p:nvSpPr>
          <p:cNvPr id="11" name="bg object 22">
            <a:extLst>
              <a:ext uri="{FF2B5EF4-FFF2-40B4-BE49-F238E27FC236}">
                <a16:creationId xmlns:a16="http://schemas.microsoft.com/office/drawing/2014/main" id="{8886E48D-E592-B931-D317-212F84822E0D}"/>
              </a:ext>
            </a:extLst>
          </p:cNvPr>
          <p:cNvSpPr/>
          <p:nvPr userDrawn="1"/>
        </p:nvSpPr>
        <p:spPr>
          <a:xfrm>
            <a:off x="18952884" y="11020512"/>
            <a:ext cx="109855" cy="185420"/>
          </a:xfrm>
          <a:custGeom>
            <a:avLst/>
            <a:gdLst/>
            <a:ahLst/>
            <a:cxnLst/>
            <a:rect l="l" t="t" r="r" b="b"/>
            <a:pathLst>
              <a:path w="109855" h="185420">
                <a:moveTo>
                  <a:pt x="109601" y="0"/>
                </a:moveTo>
                <a:lnTo>
                  <a:pt x="0" y="0"/>
                </a:lnTo>
                <a:lnTo>
                  <a:pt x="0" y="40640"/>
                </a:lnTo>
                <a:lnTo>
                  <a:pt x="0" y="69850"/>
                </a:lnTo>
                <a:lnTo>
                  <a:pt x="0" y="109220"/>
                </a:lnTo>
                <a:lnTo>
                  <a:pt x="0" y="144780"/>
                </a:lnTo>
                <a:lnTo>
                  <a:pt x="0" y="185420"/>
                </a:lnTo>
                <a:lnTo>
                  <a:pt x="109601" y="185420"/>
                </a:lnTo>
                <a:lnTo>
                  <a:pt x="109601" y="144780"/>
                </a:lnTo>
                <a:lnTo>
                  <a:pt x="49885" y="144780"/>
                </a:lnTo>
                <a:lnTo>
                  <a:pt x="49885" y="109220"/>
                </a:lnTo>
                <a:lnTo>
                  <a:pt x="105181" y="109220"/>
                </a:lnTo>
                <a:lnTo>
                  <a:pt x="105181" y="69850"/>
                </a:lnTo>
                <a:lnTo>
                  <a:pt x="49885" y="69850"/>
                </a:lnTo>
                <a:lnTo>
                  <a:pt x="49885" y="40640"/>
                </a:lnTo>
                <a:lnTo>
                  <a:pt x="109601" y="40640"/>
                </a:lnTo>
                <a:lnTo>
                  <a:pt x="109601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2" name="bg object 23">
            <a:extLst>
              <a:ext uri="{FF2B5EF4-FFF2-40B4-BE49-F238E27FC236}">
                <a16:creationId xmlns:a16="http://schemas.microsoft.com/office/drawing/2014/main" id="{D27E9F4D-0F1B-626A-D92A-38DA355BC0E2}"/>
              </a:ext>
            </a:extLst>
          </p:cNvPr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8055059" y="11302723"/>
            <a:ext cx="235657" cy="180287"/>
          </a:xfrm>
          <a:prstGeom prst="rect">
            <a:avLst/>
          </a:prstGeom>
        </p:spPr>
      </p:pic>
      <p:sp>
        <p:nvSpPr>
          <p:cNvPr id="13" name="bg object 24">
            <a:extLst>
              <a:ext uri="{FF2B5EF4-FFF2-40B4-BE49-F238E27FC236}">
                <a16:creationId xmlns:a16="http://schemas.microsoft.com/office/drawing/2014/main" id="{5984B623-5DA6-E844-BD57-A8CC738FAC9C}"/>
              </a:ext>
            </a:extLst>
          </p:cNvPr>
          <p:cNvSpPr/>
          <p:nvPr userDrawn="1"/>
        </p:nvSpPr>
        <p:spPr>
          <a:xfrm>
            <a:off x="18316233" y="11302681"/>
            <a:ext cx="362585" cy="180340"/>
          </a:xfrm>
          <a:custGeom>
            <a:avLst/>
            <a:gdLst/>
            <a:ahLst/>
            <a:cxnLst/>
            <a:rect l="l" t="t" r="r" b="b"/>
            <a:pathLst>
              <a:path w="362584" h="180340">
                <a:moveTo>
                  <a:pt x="29476" y="50"/>
                </a:moveTo>
                <a:lnTo>
                  <a:pt x="0" y="50"/>
                </a:lnTo>
                <a:lnTo>
                  <a:pt x="0" y="180340"/>
                </a:lnTo>
                <a:lnTo>
                  <a:pt x="29476" y="180340"/>
                </a:lnTo>
                <a:lnTo>
                  <a:pt x="29476" y="50"/>
                </a:lnTo>
                <a:close/>
              </a:path>
              <a:path w="362584" h="180340">
                <a:moveTo>
                  <a:pt x="192379" y="0"/>
                </a:moveTo>
                <a:lnTo>
                  <a:pt x="56845" y="0"/>
                </a:lnTo>
                <a:lnTo>
                  <a:pt x="56845" y="25400"/>
                </a:lnTo>
                <a:lnTo>
                  <a:pt x="109880" y="25400"/>
                </a:lnTo>
                <a:lnTo>
                  <a:pt x="109880" y="180340"/>
                </a:lnTo>
                <a:lnTo>
                  <a:pt x="139344" y="180340"/>
                </a:lnTo>
                <a:lnTo>
                  <a:pt x="139344" y="25400"/>
                </a:lnTo>
                <a:lnTo>
                  <a:pt x="192379" y="25400"/>
                </a:lnTo>
                <a:lnTo>
                  <a:pt x="192379" y="0"/>
                </a:lnTo>
                <a:close/>
              </a:path>
              <a:path w="362584" h="180340">
                <a:moveTo>
                  <a:pt x="362191" y="0"/>
                </a:moveTo>
                <a:lnTo>
                  <a:pt x="332587" y="0"/>
                </a:lnTo>
                <a:lnTo>
                  <a:pt x="332587" y="73660"/>
                </a:lnTo>
                <a:lnTo>
                  <a:pt x="249478" y="73660"/>
                </a:lnTo>
                <a:lnTo>
                  <a:pt x="249478" y="0"/>
                </a:lnTo>
                <a:lnTo>
                  <a:pt x="220002" y="0"/>
                </a:lnTo>
                <a:lnTo>
                  <a:pt x="220002" y="73660"/>
                </a:lnTo>
                <a:lnTo>
                  <a:pt x="220002" y="99060"/>
                </a:lnTo>
                <a:lnTo>
                  <a:pt x="220002" y="180340"/>
                </a:lnTo>
                <a:lnTo>
                  <a:pt x="249478" y="180340"/>
                </a:lnTo>
                <a:lnTo>
                  <a:pt x="249478" y="99060"/>
                </a:lnTo>
                <a:lnTo>
                  <a:pt x="332587" y="99060"/>
                </a:lnTo>
                <a:lnTo>
                  <a:pt x="332587" y="180340"/>
                </a:lnTo>
                <a:lnTo>
                  <a:pt x="362191" y="180340"/>
                </a:lnTo>
                <a:lnTo>
                  <a:pt x="362191" y="99060"/>
                </a:lnTo>
                <a:lnTo>
                  <a:pt x="362191" y="73660"/>
                </a:lnTo>
                <a:lnTo>
                  <a:pt x="362191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4" name="bg object 25">
            <a:extLst>
              <a:ext uri="{FF2B5EF4-FFF2-40B4-BE49-F238E27FC236}">
                <a16:creationId xmlns:a16="http://schemas.microsoft.com/office/drawing/2014/main" id="{F24A5909-DB62-FC3C-7631-CF3D001B658B}"/>
              </a:ext>
            </a:extLst>
          </p:cNvPr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8717022" y="11299886"/>
            <a:ext cx="168947" cy="185596"/>
          </a:xfrm>
          <a:prstGeom prst="rect">
            <a:avLst/>
          </a:prstGeom>
        </p:spPr>
      </p:pic>
      <p:pic>
        <p:nvPicPr>
          <p:cNvPr id="15" name="bg object 26">
            <a:extLst>
              <a:ext uri="{FF2B5EF4-FFF2-40B4-BE49-F238E27FC236}">
                <a16:creationId xmlns:a16="http://schemas.microsoft.com/office/drawing/2014/main" id="{C293A528-7C2F-8C91-5B87-0093FCA4AB0B}"/>
              </a:ext>
            </a:extLst>
          </p:cNvPr>
          <p:cNvPicPr/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8923085" y="11302724"/>
            <a:ext cx="142927" cy="182758"/>
          </a:xfrm>
          <a:prstGeom prst="rect">
            <a:avLst/>
          </a:prstGeom>
        </p:spPr>
      </p:pic>
      <p:sp>
        <p:nvSpPr>
          <p:cNvPr id="16" name="bg object 27">
            <a:extLst>
              <a:ext uri="{FF2B5EF4-FFF2-40B4-BE49-F238E27FC236}">
                <a16:creationId xmlns:a16="http://schemas.microsoft.com/office/drawing/2014/main" id="{41E1EB4A-B7DA-8B56-581E-782ED255A104}"/>
              </a:ext>
            </a:extLst>
          </p:cNvPr>
          <p:cNvSpPr/>
          <p:nvPr userDrawn="1"/>
        </p:nvSpPr>
        <p:spPr>
          <a:xfrm>
            <a:off x="19091898" y="11302681"/>
            <a:ext cx="135890" cy="180340"/>
          </a:xfrm>
          <a:custGeom>
            <a:avLst/>
            <a:gdLst/>
            <a:ahLst/>
            <a:cxnLst/>
            <a:rect l="l" t="t" r="r" b="b"/>
            <a:pathLst>
              <a:path w="135890" h="180340">
                <a:moveTo>
                  <a:pt x="135534" y="0"/>
                </a:moveTo>
                <a:lnTo>
                  <a:pt x="0" y="0"/>
                </a:lnTo>
                <a:lnTo>
                  <a:pt x="0" y="25400"/>
                </a:lnTo>
                <a:lnTo>
                  <a:pt x="53022" y="25400"/>
                </a:lnTo>
                <a:lnTo>
                  <a:pt x="53022" y="180340"/>
                </a:lnTo>
                <a:lnTo>
                  <a:pt x="82499" y="180340"/>
                </a:lnTo>
                <a:lnTo>
                  <a:pt x="82499" y="25400"/>
                </a:lnTo>
                <a:lnTo>
                  <a:pt x="135534" y="25400"/>
                </a:lnTo>
                <a:lnTo>
                  <a:pt x="135534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17" name="bg object 28">
            <a:extLst>
              <a:ext uri="{FF2B5EF4-FFF2-40B4-BE49-F238E27FC236}">
                <a16:creationId xmlns:a16="http://schemas.microsoft.com/office/drawing/2014/main" id="{44EC60FD-B999-4A63-9D46-4F3E8CE28F5A}"/>
              </a:ext>
            </a:extLst>
          </p:cNvPr>
          <p:cNvSpPr/>
          <p:nvPr userDrawn="1"/>
        </p:nvSpPr>
        <p:spPr>
          <a:xfrm>
            <a:off x="18065725" y="11566511"/>
            <a:ext cx="142875" cy="180975"/>
          </a:xfrm>
          <a:custGeom>
            <a:avLst/>
            <a:gdLst/>
            <a:ahLst/>
            <a:cxnLst/>
            <a:rect l="l" t="t" r="r" b="b"/>
            <a:pathLst>
              <a:path w="142875" h="180975">
                <a:moveTo>
                  <a:pt x="98767" y="169303"/>
                </a:moveTo>
                <a:lnTo>
                  <a:pt x="12598" y="169303"/>
                </a:lnTo>
                <a:lnTo>
                  <a:pt x="12598" y="393"/>
                </a:lnTo>
                <a:lnTo>
                  <a:pt x="0" y="393"/>
                </a:lnTo>
                <a:lnTo>
                  <a:pt x="0" y="169303"/>
                </a:lnTo>
                <a:lnTo>
                  <a:pt x="0" y="180733"/>
                </a:lnTo>
                <a:lnTo>
                  <a:pt x="98767" y="180733"/>
                </a:lnTo>
                <a:lnTo>
                  <a:pt x="98767" y="169303"/>
                </a:lnTo>
                <a:close/>
              </a:path>
              <a:path w="142875" h="180975">
                <a:moveTo>
                  <a:pt x="142532" y="0"/>
                </a:moveTo>
                <a:lnTo>
                  <a:pt x="129921" y="0"/>
                </a:lnTo>
                <a:lnTo>
                  <a:pt x="129921" y="180733"/>
                </a:lnTo>
                <a:lnTo>
                  <a:pt x="142532" y="180733"/>
                </a:lnTo>
                <a:lnTo>
                  <a:pt x="142532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18" name="bg object 29">
            <a:extLst>
              <a:ext uri="{FF2B5EF4-FFF2-40B4-BE49-F238E27FC236}">
                <a16:creationId xmlns:a16="http://schemas.microsoft.com/office/drawing/2014/main" id="{D33E6139-94A6-4372-3C5C-635AD796B93F}"/>
              </a:ext>
            </a:extLst>
          </p:cNvPr>
          <p:cNvSpPr/>
          <p:nvPr userDrawn="1"/>
        </p:nvSpPr>
        <p:spPr>
          <a:xfrm>
            <a:off x="18235080" y="11566511"/>
            <a:ext cx="170180" cy="180975"/>
          </a:xfrm>
          <a:custGeom>
            <a:avLst/>
            <a:gdLst/>
            <a:ahLst/>
            <a:cxnLst/>
            <a:rect l="l" t="t" r="r" b="b"/>
            <a:pathLst>
              <a:path w="170180" h="180975">
                <a:moveTo>
                  <a:pt x="130175" y="393"/>
                </a:moveTo>
                <a:lnTo>
                  <a:pt x="0" y="393"/>
                </a:lnTo>
                <a:lnTo>
                  <a:pt x="0" y="11823"/>
                </a:lnTo>
                <a:lnTo>
                  <a:pt x="58724" y="11823"/>
                </a:lnTo>
                <a:lnTo>
                  <a:pt x="58724" y="180733"/>
                </a:lnTo>
                <a:lnTo>
                  <a:pt x="71450" y="180733"/>
                </a:lnTo>
                <a:lnTo>
                  <a:pt x="71450" y="11823"/>
                </a:lnTo>
                <a:lnTo>
                  <a:pt x="130175" y="11823"/>
                </a:lnTo>
                <a:lnTo>
                  <a:pt x="130175" y="393"/>
                </a:lnTo>
                <a:close/>
              </a:path>
              <a:path w="170180" h="180975">
                <a:moveTo>
                  <a:pt x="169608" y="0"/>
                </a:moveTo>
                <a:lnTo>
                  <a:pt x="156997" y="0"/>
                </a:lnTo>
                <a:lnTo>
                  <a:pt x="156997" y="180733"/>
                </a:lnTo>
                <a:lnTo>
                  <a:pt x="169608" y="180733"/>
                </a:lnTo>
                <a:lnTo>
                  <a:pt x="169608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9" name="bg object 30">
            <a:extLst>
              <a:ext uri="{FF2B5EF4-FFF2-40B4-BE49-F238E27FC236}">
                <a16:creationId xmlns:a16="http://schemas.microsoft.com/office/drawing/2014/main" id="{52C3DA81-8F01-FED5-2B5E-BA51ADD68563}"/>
              </a:ext>
            </a:extLst>
          </p:cNvPr>
          <p:cNvPicPr/>
          <p:nvPr userDrawn="1"/>
        </p:nvPicPr>
        <p:blipFill>
          <a:blip r:embed="rId9" cstate="print"/>
          <a:stretch>
            <a:fillRect/>
          </a:stretch>
        </p:blipFill>
        <p:spPr>
          <a:xfrm>
            <a:off x="18446220" y="11563659"/>
            <a:ext cx="147367" cy="186046"/>
          </a:xfrm>
          <a:prstGeom prst="rect">
            <a:avLst/>
          </a:prstGeom>
        </p:spPr>
      </p:pic>
      <p:pic>
        <p:nvPicPr>
          <p:cNvPr id="20" name="bg object 31">
            <a:extLst>
              <a:ext uri="{FF2B5EF4-FFF2-40B4-BE49-F238E27FC236}">
                <a16:creationId xmlns:a16="http://schemas.microsoft.com/office/drawing/2014/main" id="{3AFA76DA-427E-25B5-E08F-7B343B55B3D2}"/>
              </a:ext>
            </a:extLst>
          </p:cNvPr>
          <p:cNvPicPr/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18613357" y="11565767"/>
            <a:ext cx="283342" cy="181470"/>
          </a:xfrm>
          <a:prstGeom prst="rect">
            <a:avLst/>
          </a:prstGeom>
        </p:spPr>
      </p:pic>
      <p:sp>
        <p:nvSpPr>
          <p:cNvPr id="21" name="bg object 32">
            <a:extLst>
              <a:ext uri="{FF2B5EF4-FFF2-40B4-BE49-F238E27FC236}">
                <a16:creationId xmlns:a16="http://schemas.microsoft.com/office/drawing/2014/main" id="{88CEEB7D-E7AC-3036-83D8-7788F1BD5FC0}"/>
              </a:ext>
            </a:extLst>
          </p:cNvPr>
          <p:cNvSpPr/>
          <p:nvPr userDrawn="1"/>
        </p:nvSpPr>
        <p:spPr>
          <a:xfrm>
            <a:off x="18923528" y="11566506"/>
            <a:ext cx="12700" cy="180975"/>
          </a:xfrm>
          <a:custGeom>
            <a:avLst/>
            <a:gdLst/>
            <a:ahLst/>
            <a:cxnLst/>
            <a:rect l="l" t="t" r="r" b="b"/>
            <a:pathLst>
              <a:path w="12700" h="180975">
                <a:moveTo>
                  <a:pt x="12606" y="0"/>
                </a:moveTo>
                <a:lnTo>
                  <a:pt x="0" y="0"/>
                </a:lnTo>
                <a:lnTo>
                  <a:pt x="0" y="180727"/>
                </a:lnTo>
                <a:lnTo>
                  <a:pt x="12606" y="180727"/>
                </a:lnTo>
                <a:lnTo>
                  <a:pt x="12606" y="0"/>
                </a:lnTo>
                <a:close/>
              </a:path>
            </a:pathLst>
          </a:custGeom>
          <a:solidFill>
            <a:srgbClr val="7A7C81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22" name="bg object 33">
            <a:extLst>
              <a:ext uri="{FF2B5EF4-FFF2-40B4-BE49-F238E27FC236}">
                <a16:creationId xmlns:a16="http://schemas.microsoft.com/office/drawing/2014/main" id="{5E9624C0-E7AF-6C88-225E-076AC2C53B7D}"/>
              </a:ext>
            </a:extLst>
          </p:cNvPr>
          <p:cNvPicPr/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18977667" y="11563661"/>
            <a:ext cx="161576" cy="186046"/>
          </a:xfrm>
          <a:prstGeom prst="rect">
            <a:avLst/>
          </a:prstGeom>
        </p:spPr>
      </p:pic>
      <p:pic>
        <p:nvPicPr>
          <p:cNvPr id="23" name="bg object 34">
            <a:extLst>
              <a:ext uri="{FF2B5EF4-FFF2-40B4-BE49-F238E27FC236}">
                <a16:creationId xmlns:a16="http://schemas.microsoft.com/office/drawing/2014/main" id="{FCC3DD9D-774B-EECC-3D5B-E00F8BDF27FC}"/>
              </a:ext>
            </a:extLst>
          </p:cNvPr>
          <p:cNvPicPr/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19180778" y="11566509"/>
            <a:ext cx="131409" cy="180727"/>
          </a:xfrm>
          <a:prstGeom prst="rect">
            <a:avLst/>
          </a:prstGeom>
        </p:spPr>
      </p:pic>
      <p:sp>
        <p:nvSpPr>
          <p:cNvPr id="24" name="bg object 35">
            <a:extLst>
              <a:ext uri="{FF2B5EF4-FFF2-40B4-BE49-F238E27FC236}">
                <a16:creationId xmlns:a16="http://schemas.microsoft.com/office/drawing/2014/main" id="{1D4B16C4-1EFE-AF7E-E63D-8C5C860A4EEE}"/>
              </a:ext>
            </a:extLst>
          </p:cNvPr>
          <p:cNvSpPr/>
          <p:nvPr userDrawn="1"/>
        </p:nvSpPr>
        <p:spPr>
          <a:xfrm>
            <a:off x="17305002" y="11018376"/>
            <a:ext cx="513715" cy="76200"/>
          </a:xfrm>
          <a:custGeom>
            <a:avLst/>
            <a:gdLst/>
            <a:ahLst/>
            <a:cxnLst/>
            <a:rect l="l" t="t" r="r" b="b"/>
            <a:pathLst>
              <a:path w="513715" h="76200">
                <a:moveTo>
                  <a:pt x="513418" y="0"/>
                </a:moveTo>
                <a:lnTo>
                  <a:pt x="0" y="0"/>
                </a:lnTo>
                <a:lnTo>
                  <a:pt x="0" y="76050"/>
                </a:lnTo>
                <a:lnTo>
                  <a:pt x="513418" y="76050"/>
                </a:lnTo>
                <a:lnTo>
                  <a:pt x="513418" y="0"/>
                </a:lnTo>
                <a:close/>
              </a:path>
            </a:pathLst>
          </a:custGeom>
          <a:solidFill>
            <a:srgbClr val="A78A4C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5" name="bg object 36">
            <a:extLst>
              <a:ext uri="{FF2B5EF4-FFF2-40B4-BE49-F238E27FC236}">
                <a16:creationId xmlns:a16="http://schemas.microsoft.com/office/drawing/2014/main" id="{9F035B76-8DEF-3E99-8E7E-55596C2D7C98}"/>
              </a:ext>
            </a:extLst>
          </p:cNvPr>
          <p:cNvSpPr/>
          <p:nvPr userDrawn="1"/>
        </p:nvSpPr>
        <p:spPr>
          <a:xfrm>
            <a:off x="497344" y="0"/>
            <a:ext cx="630555" cy="4417695"/>
          </a:xfrm>
          <a:custGeom>
            <a:avLst/>
            <a:gdLst/>
            <a:ahLst/>
            <a:cxnLst/>
            <a:rect l="l" t="t" r="r" b="b"/>
            <a:pathLst>
              <a:path w="630555" h="4417695">
                <a:moveTo>
                  <a:pt x="630242" y="4083639"/>
                </a:moveTo>
                <a:lnTo>
                  <a:pt x="630242" y="4073744"/>
                </a:lnTo>
                <a:lnTo>
                  <a:pt x="630106" y="4073859"/>
                </a:lnTo>
                <a:lnTo>
                  <a:pt x="629855" y="4074090"/>
                </a:lnTo>
                <a:lnTo>
                  <a:pt x="629855" y="0"/>
                </a:lnTo>
              </a:path>
              <a:path w="630555" h="4417695">
                <a:moveTo>
                  <a:pt x="2434" y="0"/>
                </a:moveTo>
                <a:lnTo>
                  <a:pt x="0" y="2699357"/>
                </a:lnTo>
                <a:lnTo>
                  <a:pt x="0" y="4417388"/>
                </a:lnTo>
                <a:lnTo>
                  <a:pt x="49735" y="4401593"/>
                </a:lnTo>
                <a:lnTo>
                  <a:pt x="98845" y="4384492"/>
                </a:lnTo>
                <a:lnTo>
                  <a:pt x="147304" y="4366102"/>
                </a:lnTo>
                <a:lnTo>
                  <a:pt x="195086" y="4346440"/>
                </a:lnTo>
                <a:lnTo>
                  <a:pt x="242168" y="4325523"/>
                </a:lnTo>
                <a:lnTo>
                  <a:pt x="288524" y="4303369"/>
                </a:lnTo>
                <a:lnTo>
                  <a:pt x="334129" y="4279994"/>
                </a:lnTo>
                <a:lnTo>
                  <a:pt x="378959" y="4255416"/>
                </a:lnTo>
                <a:lnTo>
                  <a:pt x="422987" y="4229652"/>
                </a:lnTo>
                <a:lnTo>
                  <a:pt x="466190" y="4202719"/>
                </a:lnTo>
                <a:lnTo>
                  <a:pt x="508541" y="4174634"/>
                </a:lnTo>
                <a:lnTo>
                  <a:pt x="550017" y="4145414"/>
                </a:lnTo>
                <a:lnTo>
                  <a:pt x="590593" y="4115077"/>
                </a:lnTo>
                <a:lnTo>
                  <a:pt x="630242" y="4083639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6" name="bg object 37">
            <a:extLst>
              <a:ext uri="{FF2B5EF4-FFF2-40B4-BE49-F238E27FC236}">
                <a16:creationId xmlns:a16="http://schemas.microsoft.com/office/drawing/2014/main" id="{E680BB8F-D4F9-3938-FFBB-66E3CA1BFCB0}"/>
              </a:ext>
            </a:extLst>
          </p:cNvPr>
          <p:cNvSpPr/>
          <p:nvPr userDrawn="1"/>
        </p:nvSpPr>
        <p:spPr>
          <a:xfrm>
            <a:off x="15802178" y="448750"/>
            <a:ext cx="4302125" cy="677545"/>
          </a:xfrm>
          <a:custGeom>
            <a:avLst/>
            <a:gdLst/>
            <a:ahLst/>
            <a:cxnLst/>
            <a:rect l="l" t="t" r="r" b="b"/>
            <a:pathLst>
              <a:path w="4302125" h="677544">
                <a:moveTo>
                  <a:pt x="4301921" y="0"/>
                </a:moveTo>
                <a:lnTo>
                  <a:pt x="0" y="0"/>
                </a:lnTo>
                <a:lnTo>
                  <a:pt x="0" y="677036"/>
                </a:lnTo>
                <a:lnTo>
                  <a:pt x="4301921" y="67703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7" name="bg object 38">
            <a:extLst>
              <a:ext uri="{FF2B5EF4-FFF2-40B4-BE49-F238E27FC236}">
                <a16:creationId xmlns:a16="http://schemas.microsoft.com/office/drawing/2014/main" id="{5711398F-DF82-8B13-D6C4-9BFD6E0C3D13}"/>
              </a:ext>
            </a:extLst>
          </p:cNvPr>
          <p:cNvSpPr/>
          <p:nvPr userDrawn="1"/>
        </p:nvSpPr>
        <p:spPr>
          <a:xfrm>
            <a:off x="15884111" y="10541781"/>
            <a:ext cx="4220210" cy="2306320"/>
          </a:xfrm>
          <a:custGeom>
            <a:avLst/>
            <a:gdLst/>
            <a:ahLst/>
            <a:cxnLst/>
            <a:rect l="l" t="t" r="r" b="b"/>
            <a:pathLst>
              <a:path w="4220209" h="2306320">
                <a:moveTo>
                  <a:pt x="4219988" y="815958"/>
                </a:moveTo>
                <a:lnTo>
                  <a:pt x="4191904" y="882755"/>
                </a:lnTo>
                <a:lnTo>
                  <a:pt x="4172368" y="925143"/>
                </a:lnTo>
                <a:lnTo>
                  <a:pt x="4151819" y="966953"/>
                </a:lnTo>
                <a:lnTo>
                  <a:pt x="4130274" y="1008168"/>
                </a:lnTo>
                <a:lnTo>
                  <a:pt x="4107749" y="1048774"/>
                </a:lnTo>
                <a:lnTo>
                  <a:pt x="4084260" y="1088754"/>
                </a:lnTo>
                <a:lnTo>
                  <a:pt x="4059821" y="1128093"/>
                </a:lnTo>
                <a:lnTo>
                  <a:pt x="4034449" y="1166773"/>
                </a:lnTo>
                <a:lnTo>
                  <a:pt x="4008160" y="1204781"/>
                </a:lnTo>
                <a:lnTo>
                  <a:pt x="3980969" y="1242098"/>
                </a:lnTo>
                <a:lnTo>
                  <a:pt x="3952893" y="1278711"/>
                </a:lnTo>
                <a:lnTo>
                  <a:pt x="3923946" y="1314603"/>
                </a:lnTo>
                <a:lnTo>
                  <a:pt x="3894144" y="1349757"/>
                </a:lnTo>
                <a:lnTo>
                  <a:pt x="3863505" y="1384159"/>
                </a:lnTo>
                <a:lnTo>
                  <a:pt x="3832042" y="1417791"/>
                </a:lnTo>
                <a:lnTo>
                  <a:pt x="3799772" y="1450639"/>
                </a:lnTo>
                <a:lnTo>
                  <a:pt x="3766711" y="1482687"/>
                </a:lnTo>
                <a:lnTo>
                  <a:pt x="3732874" y="1513918"/>
                </a:lnTo>
                <a:lnTo>
                  <a:pt x="3698277" y="1544317"/>
                </a:lnTo>
                <a:lnTo>
                  <a:pt x="3662937" y="1573867"/>
                </a:lnTo>
                <a:lnTo>
                  <a:pt x="3626868" y="1602554"/>
                </a:lnTo>
                <a:lnTo>
                  <a:pt x="3590086" y="1630360"/>
                </a:lnTo>
                <a:lnTo>
                  <a:pt x="3552607" y="1657271"/>
                </a:lnTo>
                <a:lnTo>
                  <a:pt x="3514448" y="1683270"/>
                </a:lnTo>
                <a:lnTo>
                  <a:pt x="3475623" y="1708341"/>
                </a:lnTo>
                <a:lnTo>
                  <a:pt x="3436148" y="1732468"/>
                </a:lnTo>
                <a:lnTo>
                  <a:pt x="3396040" y="1755637"/>
                </a:lnTo>
                <a:lnTo>
                  <a:pt x="3355314" y="1777830"/>
                </a:lnTo>
                <a:lnTo>
                  <a:pt x="3313985" y="1799031"/>
                </a:lnTo>
                <a:lnTo>
                  <a:pt x="3272070" y="1819226"/>
                </a:lnTo>
                <a:lnTo>
                  <a:pt x="3229584" y="1838398"/>
                </a:lnTo>
                <a:lnTo>
                  <a:pt x="3186543" y="1856530"/>
                </a:lnTo>
                <a:lnTo>
                  <a:pt x="3142962" y="1873609"/>
                </a:lnTo>
                <a:lnTo>
                  <a:pt x="3098858" y="1889616"/>
                </a:lnTo>
                <a:lnTo>
                  <a:pt x="3054247" y="1904537"/>
                </a:lnTo>
                <a:lnTo>
                  <a:pt x="3009143" y="1918356"/>
                </a:lnTo>
                <a:lnTo>
                  <a:pt x="2963563" y="1931056"/>
                </a:lnTo>
                <a:lnTo>
                  <a:pt x="2917522" y="1942622"/>
                </a:lnTo>
                <a:lnTo>
                  <a:pt x="2871037" y="1953038"/>
                </a:lnTo>
                <a:lnTo>
                  <a:pt x="2824123" y="1962288"/>
                </a:lnTo>
                <a:lnTo>
                  <a:pt x="2776795" y="1970357"/>
                </a:lnTo>
                <a:lnTo>
                  <a:pt x="2729070" y="1977227"/>
                </a:lnTo>
                <a:lnTo>
                  <a:pt x="2680963" y="1982885"/>
                </a:lnTo>
                <a:lnTo>
                  <a:pt x="2632491" y="1987312"/>
                </a:lnTo>
                <a:lnTo>
                  <a:pt x="2583668" y="1990494"/>
                </a:lnTo>
                <a:lnTo>
                  <a:pt x="2534510" y="1992415"/>
                </a:lnTo>
                <a:lnTo>
                  <a:pt x="2485034" y="1993059"/>
                </a:lnTo>
                <a:lnTo>
                  <a:pt x="2436764" y="1992447"/>
                </a:lnTo>
                <a:lnTo>
                  <a:pt x="2388796" y="1990619"/>
                </a:lnTo>
                <a:lnTo>
                  <a:pt x="2341143" y="1987591"/>
                </a:lnTo>
                <a:lnTo>
                  <a:pt x="2293821" y="1983377"/>
                </a:lnTo>
                <a:lnTo>
                  <a:pt x="2246844" y="1977992"/>
                </a:lnTo>
                <a:lnTo>
                  <a:pt x="2200227" y="1971450"/>
                </a:lnTo>
                <a:lnTo>
                  <a:pt x="2153985" y="1963767"/>
                </a:lnTo>
                <a:lnTo>
                  <a:pt x="2108132" y="1954958"/>
                </a:lnTo>
                <a:lnTo>
                  <a:pt x="2062683" y="1945036"/>
                </a:lnTo>
                <a:lnTo>
                  <a:pt x="2017652" y="1934016"/>
                </a:lnTo>
                <a:lnTo>
                  <a:pt x="1973055" y="1921914"/>
                </a:lnTo>
                <a:lnTo>
                  <a:pt x="1928906" y="1908745"/>
                </a:lnTo>
                <a:lnTo>
                  <a:pt x="1885220" y="1894521"/>
                </a:lnTo>
                <a:lnTo>
                  <a:pt x="1842011" y="1879260"/>
                </a:lnTo>
                <a:lnTo>
                  <a:pt x="1799294" y="1862975"/>
                </a:lnTo>
                <a:lnTo>
                  <a:pt x="1757084" y="1845680"/>
                </a:lnTo>
                <a:lnTo>
                  <a:pt x="1715395" y="1827392"/>
                </a:lnTo>
                <a:lnTo>
                  <a:pt x="1674242" y="1808123"/>
                </a:lnTo>
                <a:lnTo>
                  <a:pt x="1633641" y="1787890"/>
                </a:lnTo>
                <a:lnTo>
                  <a:pt x="1593605" y="1766707"/>
                </a:lnTo>
                <a:lnTo>
                  <a:pt x="1554149" y="1744589"/>
                </a:lnTo>
                <a:lnTo>
                  <a:pt x="1515288" y="1721550"/>
                </a:lnTo>
                <a:lnTo>
                  <a:pt x="1477037" y="1697605"/>
                </a:lnTo>
                <a:lnTo>
                  <a:pt x="1439410" y="1672769"/>
                </a:lnTo>
                <a:lnTo>
                  <a:pt x="1402422" y="1647056"/>
                </a:lnTo>
                <a:lnTo>
                  <a:pt x="1366087" y="1620482"/>
                </a:lnTo>
                <a:lnTo>
                  <a:pt x="1330421" y="1593060"/>
                </a:lnTo>
                <a:lnTo>
                  <a:pt x="1295438" y="1564807"/>
                </a:lnTo>
                <a:lnTo>
                  <a:pt x="1261153" y="1535736"/>
                </a:lnTo>
                <a:lnTo>
                  <a:pt x="1227580" y="1505862"/>
                </a:lnTo>
                <a:lnTo>
                  <a:pt x="1194734" y="1475200"/>
                </a:lnTo>
                <a:lnTo>
                  <a:pt x="1162630" y="1443764"/>
                </a:lnTo>
                <a:lnTo>
                  <a:pt x="1131283" y="1411570"/>
                </a:lnTo>
                <a:lnTo>
                  <a:pt x="1100707" y="1378633"/>
                </a:lnTo>
                <a:lnTo>
                  <a:pt x="1070916" y="1344966"/>
                </a:lnTo>
                <a:lnTo>
                  <a:pt x="1041926" y="1310584"/>
                </a:lnTo>
                <a:lnTo>
                  <a:pt x="1013752" y="1275503"/>
                </a:lnTo>
                <a:lnTo>
                  <a:pt x="986407" y="1239737"/>
                </a:lnTo>
                <a:lnTo>
                  <a:pt x="959907" y="1203301"/>
                </a:lnTo>
                <a:lnTo>
                  <a:pt x="934266" y="1166209"/>
                </a:lnTo>
                <a:lnTo>
                  <a:pt x="909500" y="1128476"/>
                </a:lnTo>
                <a:lnTo>
                  <a:pt x="885621" y="1090118"/>
                </a:lnTo>
                <a:lnTo>
                  <a:pt x="862647" y="1051148"/>
                </a:lnTo>
                <a:lnTo>
                  <a:pt x="840590" y="1011581"/>
                </a:lnTo>
                <a:lnTo>
                  <a:pt x="819466" y="971433"/>
                </a:lnTo>
                <a:lnTo>
                  <a:pt x="799290" y="930717"/>
                </a:lnTo>
                <a:lnTo>
                  <a:pt x="780076" y="889449"/>
                </a:lnTo>
                <a:lnTo>
                  <a:pt x="761838" y="847644"/>
                </a:lnTo>
                <a:lnTo>
                  <a:pt x="744592" y="805315"/>
                </a:lnTo>
                <a:lnTo>
                  <a:pt x="728352" y="762479"/>
                </a:lnTo>
                <a:lnTo>
                  <a:pt x="713133" y="719148"/>
                </a:lnTo>
                <a:lnTo>
                  <a:pt x="698950" y="675339"/>
                </a:lnTo>
                <a:lnTo>
                  <a:pt x="685817" y="631066"/>
                </a:lnTo>
                <a:lnTo>
                  <a:pt x="673749" y="586344"/>
                </a:lnTo>
                <a:lnTo>
                  <a:pt x="662760" y="541187"/>
                </a:lnTo>
                <a:lnTo>
                  <a:pt x="652866" y="495610"/>
                </a:lnTo>
                <a:lnTo>
                  <a:pt x="644081" y="449629"/>
                </a:lnTo>
                <a:lnTo>
                  <a:pt x="636419" y="403256"/>
                </a:lnTo>
                <a:lnTo>
                  <a:pt x="629896" y="356509"/>
                </a:lnTo>
                <a:lnTo>
                  <a:pt x="624526" y="309400"/>
                </a:lnTo>
                <a:lnTo>
                  <a:pt x="620324" y="261945"/>
                </a:lnTo>
                <a:lnTo>
                  <a:pt x="617304" y="214159"/>
                </a:lnTo>
                <a:lnTo>
                  <a:pt x="615482" y="166055"/>
                </a:lnTo>
                <a:lnTo>
                  <a:pt x="614871" y="117650"/>
                </a:lnTo>
                <a:lnTo>
                  <a:pt x="615459" y="88007"/>
                </a:lnTo>
                <a:lnTo>
                  <a:pt x="616934" y="58593"/>
                </a:lnTo>
                <a:lnTo>
                  <a:pt x="618864" y="29295"/>
                </a:lnTo>
                <a:lnTo>
                  <a:pt x="620818" y="0"/>
                </a:lnTo>
                <a:lnTo>
                  <a:pt x="0" y="0"/>
                </a:lnTo>
                <a:lnTo>
                  <a:pt x="0" y="112425"/>
                </a:lnTo>
                <a:lnTo>
                  <a:pt x="462" y="160786"/>
                </a:lnTo>
                <a:lnTo>
                  <a:pt x="1844" y="208927"/>
                </a:lnTo>
                <a:lnTo>
                  <a:pt x="4137" y="256837"/>
                </a:lnTo>
                <a:lnTo>
                  <a:pt x="7333" y="304511"/>
                </a:lnTo>
                <a:lnTo>
                  <a:pt x="11422" y="351938"/>
                </a:lnTo>
                <a:lnTo>
                  <a:pt x="16398" y="399110"/>
                </a:lnTo>
                <a:lnTo>
                  <a:pt x="22251" y="446020"/>
                </a:lnTo>
                <a:lnTo>
                  <a:pt x="28973" y="492658"/>
                </a:lnTo>
                <a:lnTo>
                  <a:pt x="36555" y="539017"/>
                </a:lnTo>
                <a:lnTo>
                  <a:pt x="44990" y="585087"/>
                </a:lnTo>
                <a:lnTo>
                  <a:pt x="54268" y="630861"/>
                </a:lnTo>
                <a:lnTo>
                  <a:pt x="64382" y="676330"/>
                </a:lnTo>
                <a:lnTo>
                  <a:pt x="75322" y="721485"/>
                </a:lnTo>
                <a:lnTo>
                  <a:pt x="87081" y="766318"/>
                </a:lnTo>
                <a:lnTo>
                  <a:pt x="99650" y="810822"/>
                </a:lnTo>
                <a:lnTo>
                  <a:pt x="113021" y="854986"/>
                </a:lnTo>
                <a:lnTo>
                  <a:pt x="127185" y="898803"/>
                </a:lnTo>
                <a:lnTo>
                  <a:pt x="142133" y="942265"/>
                </a:lnTo>
                <a:lnTo>
                  <a:pt x="157858" y="985363"/>
                </a:lnTo>
                <a:lnTo>
                  <a:pt x="174351" y="1028088"/>
                </a:lnTo>
                <a:lnTo>
                  <a:pt x="191604" y="1070433"/>
                </a:lnTo>
                <a:lnTo>
                  <a:pt x="209607" y="1112388"/>
                </a:lnTo>
                <a:lnTo>
                  <a:pt x="228354" y="1153946"/>
                </a:lnTo>
                <a:lnTo>
                  <a:pt x="247835" y="1195098"/>
                </a:lnTo>
                <a:lnTo>
                  <a:pt x="268041" y="1235835"/>
                </a:lnTo>
                <a:lnTo>
                  <a:pt x="288965" y="1276149"/>
                </a:lnTo>
                <a:lnTo>
                  <a:pt x="310599" y="1316032"/>
                </a:lnTo>
                <a:lnTo>
                  <a:pt x="332932" y="1355475"/>
                </a:lnTo>
                <a:lnTo>
                  <a:pt x="355959" y="1394471"/>
                </a:lnTo>
                <a:lnTo>
                  <a:pt x="379668" y="1433009"/>
                </a:lnTo>
                <a:lnTo>
                  <a:pt x="404054" y="1471083"/>
                </a:lnTo>
                <a:lnTo>
                  <a:pt x="429106" y="1508683"/>
                </a:lnTo>
                <a:lnTo>
                  <a:pt x="454817" y="1545801"/>
                </a:lnTo>
                <a:lnTo>
                  <a:pt x="481178" y="1582429"/>
                </a:lnTo>
                <a:lnTo>
                  <a:pt x="508181" y="1618559"/>
                </a:lnTo>
                <a:lnTo>
                  <a:pt x="535817" y="1654181"/>
                </a:lnTo>
                <a:lnTo>
                  <a:pt x="564078" y="1689288"/>
                </a:lnTo>
                <a:lnTo>
                  <a:pt x="592956" y="1723871"/>
                </a:lnTo>
                <a:lnTo>
                  <a:pt x="622441" y="1757922"/>
                </a:lnTo>
                <a:lnTo>
                  <a:pt x="652527" y="1791432"/>
                </a:lnTo>
                <a:lnTo>
                  <a:pt x="683203" y="1824392"/>
                </a:lnTo>
                <a:lnTo>
                  <a:pt x="714463" y="1856796"/>
                </a:lnTo>
                <a:lnTo>
                  <a:pt x="746297" y="1888633"/>
                </a:lnTo>
                <a:lnTo>
                  <a:pt x="778697" y="1919895"/>
                </a:lnTo>
                <a:lnTo>
                  <a:pt x="811654" y="1950575"/>
                </a:lnTo>
                <a:lnTo>
                  <a:pt x="845161" y="1980664"/>
                </a:lnTo>
                <a:lnTo>
                  <a:pt x="879208" y="2010153"/>
                </a:lnTo>
                <a:lnTo>
                  <a:pt x="913788" y="2039033"/>
                </a:lnTo>
                <a:lnTo>
                  <a:pt x="948892" y="2067298"/>
                </a:lnTo>
                <a:lnTo>
                  <a:pt x="984511" y="2094937"/>
                </a:lnTo>
                <a:lnTo>
                  <a:pt x="1020637" y="2121943"/>
                </a:lnTo>
                <a:lnTo>
                  <a:pt x="1057262" y="2148307"/>
                </a:lnTo>
                <a:lnTo>
                  <a:pt x="1094378" y="2174021"/>
                </a:lnTo>
                <a:lnTo>
                  <a:pt x="1131975" y="2199077"/>
                </a:lnTo>
                <a:lnTo>
                  <a:pt x="1170046" y="2223465"/>
                </a:lnTo>
                <a:lnTo>
                  <a:pt x="1208582" y="2247178"/>
                </a:lnTo>
                <a:lnTo>
                  <a:pt x="1247574" y="2270207"/>
                </a:lnTo>
                <a:lnTo>
                  <a:pt x="1287014" y="2292544"/>
                </a:lnTo>
                <a:lnTo>
                  <a:pt x="1311807" y="2305994"/>
                </a:lnTo>
              </a:path>
              <a:path w="4220209" h="2306320">
                <a:moveTo>
                  <a:pt x="3669507" y="2305994"/>
                </a:moveTo>
                <a:lnTo>
                  <a:pt x="3733746" y="2270207"/>
                </a:lnTo>
                <a:lnTo>
                  <a:pt x="3772742" y="2247178"/>
                </a:lnTo>
                <a:lnTo>
                  <a:pt x="3811281" y="2223465"/>
                </a:lnTo>
                <a:lnTo>
                  <a:pt x="3849355" y="2199077"/>
                </a:lnTo>
                <a:lnTo>
                  <a:pt x="3886955" y="2174021"/>
                </a:lnTo>
                <a:lnTo>
                  <a:pt x="3924074" y="2148307"/>
                </a:lnTo>
                <a:lnTo>
                  <a:pt x="3960702" y="2121943"/>
                </a:lnTo>
                <a:lnTo>
                  <a:pt x="3996831" y="2094937"/>
                </a:lnTo>
                <a:lnTo>
                  <a:pt x="4032453" y="2067298"/>
                </a:lnTo>
                <a:lnTo>
                  <a:pt x="4067559" y="2039033"/>
                </a:lnTo>
                <a:lnTo>
                  <a:pt x="4102141" y="2010153"/>
                </a:lnTo>
                <a:lnTo>
                  <a:pt x="4136191" y="1980664"/>
                </a:lnTo>
                <a:lnTo>
                  <a:pt x="4169700" y="1950575"/>
                </a:lnTo>
                <a:lnTo>
                  <a:pt x="4202660" y="1919895"/>
                </a:lnTo>
                <a:lnTo>
                  <a:pt x="4219988" y="190317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8" name="Holder 6">
            <a:extLst>
              <a:ext uri="{FF2B5EF4-FFF2-40B4-BE49-F238E27FC236}">
                <a16:creationId xmlns:a16="http://schemas.microsoft.com/office/drawing/2014/main" id="{72DE43E7-CD34-6A11-0B5E-CB7145AE3788}"/>
              </a:ext>
            </a:extLst>
          </p:cNvPr>
          <p:cNvSpPr txBox="1">
            <a:spLocks/>
          </p:cNvSpPr>
          <p:nvPr userDrawn="1"/>
        </p:nvSpPr>
        <p:spPr>
          <a:xfrm>
            <a:off x="1689596" y="12106784"/>
            <a:ext cx="299085" cy="24828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1450" b="0" i="0" kern="1200">
                <a:solidFill>
                  <a:srgbClr val="A78A4C"/>
                </a:solidFill>
                <a:latin typeface="HelveticaNeue-Light"/>
                <a:ea typeface="+mn-ea"/>
                <a:cs typeface="HelveticaNeue-Ligh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85"/>
              </a:spcBef>
            </a:pPr>
            <a:fld id="{81D60167-4931-47E6-BA6A-407CBD079E47}" type="slidenum">
              <a:rPr lang="en-US" spc="15" smtClean="0"/>
              <a:pPr marL="38100">
                <a:spcBef>
                  <a:spcPts val="85"/>
                </a:spcBef>
              </a:pPr>
              <a:t>‹#›</a:t>
            </a:fld>
            <a:endParaRPr lang="en-US" spc="15" dirty="0"/>
          </a:p>
        </p:txBody>
      </p:sp>
    </p:spTree>
    <p:extLst>
      <p:ext uri="{BB962C8B-B14F-4D97-AF65-F5344CB8AC3E}">
        <p14:creationId xmlns:p14="http://schemas.microsoft.com/office/powerpoint/2010/main" val="41066672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older 4">
            <a:extLst>
              <a:ext uri="{FF2B5EF4-FFF2-40B4-BE49-F238E27FC236}">
                <a16:creationId xmlns:a16="http://schemas.microsoft.com/office/drawing/2014/main" id="{7E697389-7EC7-D6E8-0FB6-09B3C8581ADB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6835394" y="11952732"/>
            <a:ext cx="643331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JUSTICE WITHOUT LITIGATION II - ECONOMIC PART</a:t>
            </a:r>
            <a:endParaRPr lang="de-DE"/>
          </a:p>
        </p:txBody>
      </p:sp>
      <p:sp>
        <p:nvSpPr>
          <p:cNvPr id="8" name="Holder 5">
            <a:extLst>
              <a:ext uri="{FF2B5EF4-FFF2-40B4-BE49-F238E27FC236}">
                <a16:creationId xmlns:a16="http://schemas.microsoft.com/office/drawing/2014/main" id="{3A371356-22AC-0AD5-830D-A8FE5E379FD1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1611112" y="11906531"/>
            <a:ext cx="462394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12th March 2025 | Rome</a:t>
            </a:r>
            <a:endParaRPr lang="en-US"/>
          </a:p>
        </p:txBody>
      </p:sp>
      <p:grpSp>
        <p:nvGrpSpPr>
          <p:cNvPr id="9" name="object 2">
            <a:extLst>
              <a:ext uri="{FF2B5EF4-FFF2-40B4-BE49-F238E27FC236}">
                <a16:creationId xmlns:a16="http://schemas.microsoft.com/office/drawing/2014/main" id="{10B675D9-AE32-68DB-ED1D-9CA713366B3F}"/>
              </a:ext>
            </a:extLst>
          </p:cNvPr>
          <p:cNvGrpSpPr/>
          <p:nvPr userDrawn="1"/>
        </p:nvGrpSpPr>
        <p:grpSpPr>
          <a:xfrm>
            <a:off x="680607" y="0"/>
            <a:ext cx="19424015" cy="12167235"/>
            <a:chOff x="680607" y="0"/>
            <a:chExt cx="19424015" cy="12167235"/>
          </a:xfrm>
        </p:grpSpPr>
        <p:sp>
          <p:nvSpPr>
            <p:cNvPr id="10" name="object 3">
              <a:extLst>
                <a:ext uri="{FF2B5EF4-FFF2-40B4-BE49-F238E27FC236}">
                  <a16:creationId xmlns:a16="http://schemas.microsoft.com/office/drawing/2014/main" id="{86924635-97DD-B14E-2D18-C6297EA283F5}"/>
                </a:ext>
              </a:extLst>
            </p:cNvPr>
            <p:cNvSpPr/>
            <p:nvPr/>
          </p:nvSpPr>
          <p:spPr>
            <a:xfrm>
              <a:off x="680607" y="680607"/>
              <a:ext cx="18743295" cy="11487150"/>
            </a:xfrm>
            <a:custGeom>
              <a:avLst/>
              <a:gdLst/>
              <a:ahLst/>
              <a:cxnLst/>
              <a:rect l="l" t="t" r="r" b="b"/>
              <a:pathLst>
                <a:path w="18743295" h="11487150">
                  <a:moveTo>
                    <a:pt x="18742884" y="0"/>
                  </a:moveTo>
                  <a:lnTo>
                    <a:pt x="0" y="0"/>
                  </a:lnTo>
                  <a:lnTo>
                    <a:pt x="0" y="11486561"/>
                  </a:lnTo>
                  <a:lnTo>
                    <a:pt x="15769153" y="11486561"/>
                  </a:lnTo>
                  <a:lnTo>
                    <a:pt x="15817367" y="11486178"/>
                  </a:lnTo>
                  <a:lnTo>
                    <a:pt x="15865395" y="11485033"/>
                  </a:lnTo>
                  <a:lnTo>
                    <a:pt x="15913233" y="11483132"/>
                  </a:lnTo>
                  <a:lnTo>
                    <a:pt x="15960874" y="11480480"/>
                  </a:lnTo>
                  <a:lnTo>
                    <a:pt x="16008313" y="11477083"/>
                  </a:lnTo>
                  <a:lnTo>
                    <a:pt x="16055543" y="11472948"/>
                  </a:lnTo>
                  <a:lnTo>
                    <a:pt x="16102560" y="11468079"/>
                  </a:lnTo>
                  <a:lnTo>
                    <a:pt x="16149357" y="11462483"/>
                  </a:lnTo>
                  <a:lnTo>
                    <a:pt x="16195928" y="11456165"/>
                  </a:lnTo>
                  <a:lnTo>
                    <a:pt x="16242268" y="11449132"/>
                  </a:lnTo>
                  <a:lnTo>
                    <a:pt x="16288371" y="11441388"/>
                  </a:lnTo>
                  <a:lnTo>
                    <a:pt x="16334231" y="11432940"/>
                  </a:lnTo>
                  <a:lnTo>
                    <a:pt x="16379843" y="11423793"/>
                  </a:lnTo>
                  <a:lnTo>
                    <a:pt x="16425201" y="11413954"/>
                  </a:lnTo>
                  <a:lnTo>
                    <a:pt x="16470298" y="11403427"/>
                  </a:lnTo>
                  <a:lnTo>
                    <a:pt x="16515129" y="11392220"/>
                  </a:lnTo>
                  <a:lnTo>
                    <a:pt x="16559689" y="11380336"/>
                  </a:lnTo>
                  <a:lnTo>
                    <a:pt x="16603971" y="11367783"/>
                  </a:lnTo>
                  <a:lnTo>
                    <a:pt x="16647970" y="11354566"/>
                  </a:lnTo>
                  <a:lnTo>
                    <a:pt x="16691681" y="11340691"/>
                  </a:lnTo>
                  <a:lnTo>
                    <a:pt x="16735096" y="11326164"/>
                  </a:lnTo>
                  <a:lnTo>
                    <a:pt x="16778211" y="11310989"/>
                  </a:lnTo>
                  <a:lnTo>
                    <a:pt x="16821020" y="11295174"/>
                  </a:lnTo>
                  <a:lnTo>
                    <a:pt x="16863517" y="11278724"/>
                  </a:lnTo>
                  <a:lnTo>
                    <a:pt x="16905695" y="11261644"/>
                  </a:lnTo>
                  <a:lnTo>
                    <a:pt x="16947551" y="11243941"/>
                  </a:lnTo>
                  <a:lnTo>
                    <a:pt x="16989077" y="11225620"/>
                  </a:lnTo>
                  <a:lnTo>
                    <a:pt x="17030268" y="11206687"/>
                  </a:lnTo>
                  <a:lnTo>
                    <a:pt x="17071118" y="11187148"/>
                  </a:lnTo>
                  <a:lnTo>
                    <a:pt x="17111621" y="11167008"/>
                  </a:lnTo>
                  <a:lnTo>
                    <a:pt x="17151772" y="11146274"/>
                  </a:lnTo>
                  <a:lnTo>
                    <a:pt x="17191565" y="11124950"/>
                  </a:lnTo>
                  <a:lnTo>
                    <a:pt x="17230994" y="11103044"/>
                  </a:lnTo>
                  <a:lnTo>
                    <a:pt x="17270053" y="11080560"/>
                  </a:lnTo>
                  <a:lnTo>
                    <a:pt x="17308736" y="11057504"/>
                  </a:lnTo>
                  <a:lnTo>
                    <a:pt x="17347039" y="11033882"/>
                  </a:lnTo>
                  <a:lnTo>
                    <a:pt x="17384954" y="11009700"/>
                  </a:lnTo>
                  <a:lnTo>
                    <a:pt x="17422476" y="10984964"/>
                  </a:lnTo>
                  <a:lnTo>
                    <a:pt x="17459600" y="10959680"/>
                  </a:lnTo>
                  <a:lnTo>
                    <a:pt x="17496320" y="10933852"/>
                  </a:lnTo>
                  <a:lnTo>
                    <a:pt x="17532629" y="10907488"/>
                  </a:lnTo>
                  <a:lnTo>
                    <a:pt x="17568523" y="10880592"/>
                  </a:lnTo>
                  <a:lnTo>
                    <a:pt x="17603995" y="10853171"/>
                  </a:lnTo>
                  <a:lnTo>
                    <a:pt x="17639040" y="10825230"/>
                  </a:lnTo>
                  <a:lnTo>
                    <a:pt x="17673651" y="10796775"/>
                  </a:lnTo>
                  <a:lnTo>
                    <a:pt x="17707823" y="10767812"/>
                  </a:lnTo>
                  <a:lnTo>
                    <a:pt x="17741551" y="10738346"/>
                  </a:lnTo>
                  <a:lnTo>
                    <a:pt x="17774828" y="10708384"/>
                  </a:lnTo>
                  <a:lnTo>
                    <a:pt x="17807649" y="10677931"/>
                  </a:lnTo>
                  <a:lnTo>
                    <a:pt x="17840008" y="10646993"/>
                  </a:lnTo>
                  <a:lnTo>
                    <a:pt x="17871899" y="10615575"/>
                  </a:lnTo>
                  <a:lnTo>
                    <a:pt x="17903317" y="10583684"/>
                  </a:lnTo>
                  <a:lnTo>
                    <a:pt x="17934255" y="10551326"/>
                  </a:lnTo>
                  <a:lnTo>
                    <a:pt x="17964708" y="10518505"/>
                  </a:lnTo>
                  <a:lnTo>
                    <a:pt x="17994670" y="10485227"/>
                  </a:lnTo>
                  <a:lnTo>
                    <a:pt x="18024135" y="10451500"/>
                  </a:lnTo>
                  <a:lnTo>
                    <a:pt x="18053099" y="10417327"/>
                  </a:lnTo>
                  <a:lnTo>
                    <a:pt x="18081554" y="10382716"/>
                  </a:lnTo>
                  <a:lnTo>
                    <a:pt x="18109494" y="10347671"/>
                  </a:lnTo>
                  <a:lnTo>
                    <a:pt x="18136916" y="10312199"/>
                  </a:lnTo>
                  <a:lnTo>
                    <a:pt x="18163811" y="10276306"/>
                  </a:lnTo>
                  <a:lnTo>
                    <a:pt x="18190176" y="10239996"/>
                  </a:lnTo>
                  <a:lnTo>
                    <a:pt x="18216003" y="10203277"/>
                  </a:lnTo>
                  <a:lnTo>
                    <a:pt x="18241288" y="10166153"/>
                  </a:lnTo>
                  <a:lnTo>
                    <a:pt x="18266024" y="10128630"/>
                  </a:lnTo>
                  <a:lnTo>
                    <a:pt x="18290206" y="10090715"/>
                  </a:lnTo>
                  <a:lnTo>
                    <a:pt x="18313827" y="10052413"/>
                  </a:lnTo>
                  <a:lnTo>
                    <a:pt x="18336883" y="10013729"/>
                  </a:lnTo>
                  <a:lnTo>
                    <a:pt x="18359367" y="9974670"/>
                  </a:lnTo>
                  <a:lnTo>
                    <a:pt x="18381274" y="9935241"/>
                  </a:lnTo>
                  <a:lnTo>
                    <a:pt x="18402597" y="9895448"/>
                  </a:lnTo>
                  <a:lnTo>
                    <a:pt x="18423332" y="9855297"/>
                  </a:lnTo>
                  <a:lnTo>
                    <a:pt x="18443472" y="9814794"/>
                  </a:lnTo>
                  <a:lnTo>
                    <a:pt x="18463011" y="9773944"/>
                  </a:lnTo>
                  <a:lnTo>
                    <a:pt x="18481944" y="9732753"/>
                  </a:lnTo>
                  <a:lnTo>
                    <a:pt x="18500265" y="9691227"/>
                  </a:lnTo>
                  <a:lnTo>
                    <a:pt x="18517968" y="9649372"/>
                  </a:lnTo>
                  <a:lnTo>
                    <a:pt x="18535048" y="9607193"/>
                  </a:lnTo>
                  <a:lnTo>
                    <a:pt x="18551498" y="9564696"/>
                  </a:lnTo>
                  <a:lnTo>
                    <a:pt x="18567313" y="9521888"/>
                  </a:lnTo>
                  <a:lnTo>
                    <a:pt x="18582487" y="9478773"/>
                  </a:lnTo>
                  <a:lnTo>
                    <a:pt x="18597015" y="9435357"/>
                  </a:lnTo>
                  <a:lnTo>
                    <a:pt x="18610890" y="9391647"/>
                  </a:lnTo>
                  <a:lnTo>
                    <a:pt x="18624107" y="9347648"/>
                  </a:lnTo>
                  <a:lnTo>
                    <a:pt x="18636660" y="9303365"/>
                  </a:lnTo>
                  <a:lnTo>
                    <a:pt x="18648543" y="9258806"/>
                  </a:lnTo>
                  <a:lnTo>
                    <a:pt x="18659751" y="9213974"/>
                  </a:lnTo>
                  <a:lnTo>
                    <a:pt x="18670277" y="9168877"/>
                  </a:lnTo>
                  <a:lnTo>
                    <a:pt x="18680117" y="9123520"/>
                  </a:lnTo>
                  <a:lnTo>
                    <a:pt x="18689264" y="9077908"/>
                  </a:lnTo>
                  <a:lnTo>
                    <a:pt x="18697712" y="9032048"/>
                  </a:lnTo>
                  <a:lnTo>
                    <a:pt x="18705455" y="8985945"/>
                  </a:lnTo>
                  <a:lnTo>
                    <a:pt x="18712489" y="8939604"/>
                  </a:lnTo>
                  <a:lnTo>
                    <a:pt x="18718807" y="8893033"/>
                  </a:lnTo>
                  <a:lnTo>
                    <a:pt x="18724403" y="8846236"/>
                  </a:lnTo>
                  <a:lnTo>
                    <a:pt x="18729271" y="8799220"/>
                  </a:lnTo>
                  <a:lnTo>
                    <a:pt x="18733407" y="8751989"/>
                  </a:lnTo>
                  <a:lnTo>
                    <a:pt x="18736803" y="8704550"/>
                  </a:lnTo>
                  <a:lnTo>
                    <a:pt x="18739455" y="8656909"/>
                  </a:lnTo>
                  <a:lnTo>
                    <a:pt x="18741356" y="8609072"/>
                  </a:lnTo>
                  <a:lnTo>
                    <a:pt x="18742501" y="8561043"/>
                  </a:lnTo>
                  <a:lnTo>
                    <a:pt x="18742884" y="8512829"/>
                  </a:lnTo>
                  <a:lnTo>
                    <a:pt x="18742884" y="0"/>
                  </a:lnTo>
                  <a:close/>
                </a:path>
              </a:pathLst>
            </a:custGeom>
            <a:solidFill>
              <a:srgbClr val="A78A4C"/>
            </a:solidFill>
          </p:spPr>
          <p:txBody>
            <a:bodyPr wrap="square" lIns="0" tIns="0" rIns="0" bIns="0" rtlCol="0"/>
            <a:lstStyle/>
            <a:p>
              <a:endParaRPr b="0" dirty="0"/>
            </a:p>
          </p:txBody>
        </p:sp>
        <p:sp>
          <p:nvSpPr>
            <p:cNvPr id="11" name="object 4">
              <a:extLst>
                <a:ext uri="{FF2B5EF4-FFF2-40B4-BE49-F238E27FC236}">
                  <a16:creationId xmlns:a16="http://schemas.microsoft.com/office/drawing/2014/main" id="{1133BCFD-318F-587F-1009-CB44F286C1EA}"/>
                </a:ext>
              </a:extLst>
            </p:cNvPr>
            <p:cNvSpPr/>
            <p:nvPr/>
          </p:nvSpPr>
          <p:spPr>
            <a:xfrm>
              <a:off x="8244434" y="2518256"/>
              <a:ext cx="3615690" cy="1275080"/>
            </a:xfrm>
            <a:custGeom>
              <a:avLst/>
              <a:gdLst/>
              <a:ahLst/>
              <a:cxnLst/>
              <a:rect l="l" t="t" r="r" b="b"/>
              <a:pathLst>
                <a:path w="3615690" h="1275079">
                  <a:moveTo>
                    <a:pt x="1020140" y="1193"/>
                  </a:moveTo>
                  <a:lnTo>
                    <a:pt x="128168" y="1193"/>
                  </a:lnTo>
                  <a:lnTo>
                    <a:pt x="128168" y="133286"/>
                  </a:lnTo>
                  <a:lnTo>
                    <a:pt x="1020140" y="133286"/>
                  </a:lnTo>
                  <a:lnTo>
                    <a:pt x="1020140" y="1193"/>
                  </a:lnTo>
                  <a:close/>
                </a:path>
                <a:path w="3615690" h="1275079">
                  <a:moveTo>
                    <a:pt x="1020203" y="268173"/>
                  </a:moveTo>
                  <a:lnTo>
                    <a:pt x="891997" y="268173"/>
                  </a:lnTo>
                  <a:lnTo>
                    <a:pt x="891997" y="764501"/>
                  </a:lnTo>
                  <a:lnTo>
                    <a:pt x="888796" y="814044"/>
                  </a:lnTo>
                  <a:lnTo>
                    <a:pt x="879449" y="861695"/>
                  </a:lnTo>
                  <a:lnTo>
                    <a:pt x="864362" y="907034"/>
                  </a:lnTo>
                  <a:lnTo>
                    <a:pt x="843953" y="949667"/>
                  </a:lnTo>
                  <a:lnTo>
                    <a:pt x="818616" y="989203"/>
                  </a:lnTo>
                  <a:lnTo>
                    <a:pt x="788746" y="1025245"/>
                  </a:lnTo>
                  <a:lnTo>
                    <a:pt x="754773" y="1057389"/>
                  </a:lnTo>
                  <a:lnTo>
                    <a:pt x="754773" y="268173"/>
                  </a:lnTo>
                  <a:lnTo>
                    <a:pt x="622617" y="268173"/>
                  </a:lnTo>
                  <a:lnTo>
                    <a:pt x="622617" y="1129423"/>
                  </a:lnTo>
                  <a:lnTo>
                    <a:pt x="595541" y="1136726"/>
                  </a:lnTo>
                  <a:lnTo>
                    <a:pt x="567690" y="1142034"/>
                  </a:lnTo>
                  <a:lnTo>
                    <a:pt x="539178" y="1145273"/>
                  </a:lnTo>
                  <a:lnTo>
                    <a:pt x="510082" y="1146378"/>
                  </a:lnTo>
                  <a:lnTo>
                    <a:pt x="462241" y="1143393"/>
                  </a:lnTo>
                  <a:lnTo>
                    <a:pt x="416153" y="1134694"/>
                  </a:lnTo>
                  <a:lnTo>
                    <a:pt x="372186" y="1120635"/>
                  </a:lnTo>
                  <a:lnTo>
                    <a:pt x="330695" y="1101572"/>
                  </a:lnTo>
                  <a:lnTo>
                    <a:pt x="292049" y="1077861"/>
                  </a:lnTo>
                  <a:lnTo>
                    <a:pt x="256590" y="1049883"/>
                  </a:lnTo>
                  <a:lnTo>
                    <a:pt x="224688" y="1017981"/>
                  </a:lnTo>
                  <a:lnTo>
                    <a:pt x="196697" y="982522"/>
                  </a:lnTo>
                  <a:lnTo>
                    <a:pt x="172999" y="943876"/>
                  </a:lnTo>
                  <a:lnTo>
                    <a:pt x="153936" y="902385"/>
                  </a:lnTo>
                  <a:lnTo>
                    <a:pt x="139865" y="858418"/>
                  </a:lnTo>
                  <a:lnTo>
                    <a:pt x="131165" y="812330"/>
                  </a:lnTo>
                  <a:lnTo>
                    <a:pt x="128181" y="764501"/>
                  </a:lnTo>
                  <a:lnTo>
                    <a:pt x="128181" y="741464"/>
                  </a:lnTo>
                  <a:lnTo>
                    <a:pt x="0" y="741464"/>
                  </a:lnTo>
                  <a:lnTo>
                    <a:pt x="0" y="764501"/>
                  </a:lnTo>
                  <a:lnTo>
                    <a:pt x="2336" y="813549"/>
                  </a:lnTo>
                  <a:lnTo>
                    <a:pt x="9207" y="861301"/>
                  </a:lnTo>
                  <a:lnTo>
                    <a:pt x="20408" y="907529"/>
                  </a:lnTo>
                  <a:lnTo>
                    <a:pt x="35712" y="952030"/>
                  </a:lnTo>
                  <a:lnTo>
                    <a:pt x="54889" y="994575"/>
                  </a:lnTo>
                  <a:lnTo>
                    <a:pt x="77749" y="1034961"/>
                  </a:lnTo>
                  <a:lnTo>
                    <a:pt x="104076" y="1072959"/>
                  </a:lnTo>
                  <a:lnTo>
                    <a:pt x="133642" y="1108367"/>
                  </a:lnTo>
                  <a:lnTo>
                    <a:pt x="166230" y="1140955"/>
                  </a:lnTo>
                  <a:lnTo>
                    <a:pt x="201625" y="1170520"/>
                  </a:lnTo>
                  <a:lnTo>
                    <a:pt x="239623" y="1196848"/>
                  </a:lnTo>
                  <a:lnTo>
                    <a:pt x="280009" y="1219708"/>
                  </a:lnTo>
                  <a:lnTo>
                    <a:pt x="322554" y="1238897"/>
                  </a:lnTo>
                  <a:lnTo>
                    <a:pt x="367042" y="1254201"/>
                  </a:lnTo>
                  <a:lnTo>
                    <a:pt x="413270" y="1265402"/>
                  </a:lnTo>
                  <a:lnTo>
                    <a:pt x="461022" y="1272273"/>
                  </a:lnTo>
                  <a:lnTo>
                    <a:pt x="510082" y="1274610"/>
                  </a:lnTo>
                  <a:lnTo>
                    <a:pt x="559142" y="1272273"/>
                  </a:lnTo>
                  <a:lnTo>
                    <a:pt x="606894" y="1265402"/>
                  </a:lnTo>
                  <a:lnTo>
                    <a:pt x="653122" y="1254201"/>
                  </a:lnTo>
                  <a:lnTo>
                    <a:pt x="697623" y="1238897"/>
                  </a:lnTo>
                  <a:lnTo>
                    <a:pt x="740168" y="1219708"/>
                  </a:lnTo>
                  <a:lnTo>
                    <a:pt x="780554" y="1196848"/>
                  </a:lnTo>
                  <a:lnTo>
                    <a:pt x="818553" y="1170520"/>
                  </a:lnTo>
                  <a:lnTo>
                    <a:pt x="853960" y="1140955"/>
                  </a:lnTo>
                  <a:lnTo>
                    <a:pt x="886548" y="1108367"/>
                  </a:lnTo>
                  <a:lnTo>
                    <a:pt x="916114" y="1072959"/>
                  </a:lnTo>
                  <a:lnTo>
                    <a:pt x="942441" y="1034961"/>
                  </a:lnTo>
                  <a:lnTo>
                    <a:pt x="965301" y="994575"/>
                  </a:lnTo>
                  <a:lnTo>
                    <a:pt x="984491" y="952030"/>
                  </a:lnTo>
                  <a:lnTo>
                    <a:pt x="999794" y="907529"/>
                  </a:lnTo>
                  <a:lnTo>
                    <a:pt x="1010983" y="861301"/>
                  </a:lnTo>
                  <a:lnTo>
                    <a:pt x="1017854" y="813549"/>
                  </a:lnTo>
                  <a:lnTo>
                    <a:pt x="1020203" y="764501"/>
                  </a:lnTo>
                  <a:lnTo>
                    <a:pt x="1020203" y="268173"/>
                  </a:lnTo>
                  <a:close/>
                </a:path>
                <a:path w="3615690" h="1275079">
                  <a:moveTo>
                    <a:pt x="1608823" y="4635"/>
                  </a:moveTo>
                  <a:lnTo>
                    <a:pt x="1521739" y="4635"/>
                  </a:lnTo>
                  <a:lnTo>
                    <a:pt x="1521739" y="302983"/>
                  </a:lnTo>
                  <a:lnTo>
                    <a:pt x="1521167" y="317576"/>
                  </a:lnTo>
                  <a:lnTo>
                    <a:pt x="1507147" y="353187"/>
                  </a:lnTo>
                  <a:lnTo>
                    <a:pt x="1481797" y="360527"/>
                  </a:lnTo>
                  <a:lnTo>
                    <a:pt x="1475689" y="360527"/>
                  </a:lnTo>
                  <a:lnTo>
                    <a:pt x="1469974" y="359943"/>
                  </a:lnTo>
                  <a:lnTo>
                    <a:pt x="1449793" y="355904"/>
                  </a:lnTo>
                  <a:lnTo>
                    <a:pt x="1449793" y="423570"/>
                  </a:lnTo>
                  <a:lnTo>
                    <a:pt x="1460576" y="425602"/>
                  </a:lnTo>
                  <a:lnTo>
                    <a:pt x="1471663" y="427050"/>
                  </a:lnTo>
                  <a:lnTo>
                    <a:pt x="1483067" y="427913"/>
                  </a:lnTo>
                  <a:lnTo>
                    <a:pt x="1494751" y="428205"/>
                  </a:lnTo>
                  <a:lnTo>
                    <a:pt x="1521498" y="426097"/>
                  </a:lnTo>
                  <a:lnTo>
                    <a:pt x="1564271" y="409295"/>
                  </a:lnTo>
                  <a:lnTo>
                    <a:pt x="1592795" y="375780"/>
                  </a:lnTo>
                  <a:lnTo>
                    <a:pt x="1607045" y="326224"/>
                  </a:lnTo>
                  <a:lnTo>
                    <a:pt x="1608823" y="295465"/>
                  </a:lnTo>
                  <a:lnTo>
                    <a:pt x="1608823" y="4635"/>
                  </a:lnTo>
                  <a:close/>
                </a:path>
                <a:path w="3615690" h="1275079">
                  <a:moveTo>
                    <a:pt x="1621370" y="1247076"/>
                  </a:moveTo>
                  <a:lnTo>
                    <a:pt x="1471676" y="1247076"/>
                  </a:lnTo>
                  <a:lnTo>
                    <a:pt x="1471676" y="953706"/>
                  </a:lnTo>
                  <a:lnTo>
                    <a:pt x="1449781" y="953706"/>
                  </a:lnTo>
                  <a:lnTo>
                    <a:pt x="1449781" y="1247076"/>
                  </a:lnTo>
                  <a:lnTo>
                    <a:pt x="1449781" y="1267396"/>
                  </a:lnTo>
                  <a:lnTo>
                    <a:pt x="1621370" y="1267396"/>
                  </a:lnTo>
                  <a:lnTo>
                    <a:pt x="1621370" y="1247076"/>
                  </a:lnTo>
                  <a:close/>
                </a:path>
                <a:path w="3615690" h="1275079">
                  <a:moveTo>
                    <a:pt x="1697380" y="953401"/>
                  </a:moveTo>
                  <a:lnTo>
                    <a:pt x="1675485" y="953401"/>
                  </a:lnTo>
                  <a:lnTo>
                    <a:pt x="1675485" y="1267396"/>
                  </a:lnTo>
                  <a:lnTo>
                    <a:pt x="1697380" y="1267396"/>
                  </a:lnTo>
                  <a:lnTo>
                    <a:pt x="1697380" y="953401"/>
                  </a:lnTo>
                  <a:close/>
                </a:path>
                <a:path w="3615690" h="1275079">
                  <a:moveTo>
                    <a:pt x="1840636" y="495134"/>
                  </a:moveTo>
                  <a:lnTo>
                    <a:pt x="1788795" y="495134"/>
                  </a:lnTo>
                  <a:lnTo>
                    <a:pt x="1738693" y="699871"/>
                  </a:lnTo>
                  <a:lnTo>
                    <a:pt x="1734273" y="720407"/>
                  </a:lnTo>
                  <a:lnTo>
                    <a:pt x="1730984" y="738860"/>
                  </a:lnTo>
                  <a:lnTo>
                    <a:pt x="1728812" y="755205"/>
                  </a:lnTo>
                  <a:lnTo>
                    <a:pt x="1724685" y="731405"/>
                  </a:lnTo>
                  <a:lnTo>
                    <a:pt x="1720684" y="710755"/>
                  </a:lnTo>
                  <a:lnTo>
                    <a:pt x="1716786" y="693280"/>
                  </a:lnTo>
                  <a:lnTo>
                    <a:pt x="1712988" y="678954"/>
                  </a:lnTo>
                  <a:lnTo>
                    <a:pt x="1660702" y="495134"/>
                  </a:lnTo>
                  <a:lnTo>
                    <a:pt x="1609928" y="495134"/>
                  </a:lnTo>
                  <a:lnTo>
                    <a:pt x="1558937" y="678103"/>
                  </a:lnTo>
                  <a:lnTo>
                    <a:pt x="1546225" y="735939"/>
                  </a:lnTo>
                  <a:lnTo>
                    <a:pt x="1543291" y="755205"/>
                  </a:lnTo>
                  <a:lnTo>
                    <a:pt x="1540662" y="737768"/>
                  </a:lnTo>
                  <a:lnTo>
                    <a:pt x="1537284" y="719035"/>
                  </a:lnTo>
                  <a:lnTo>
                    <a:pt x="1533169" y="699008"/>
                  </a:lnTo>
                  <a:lnTo>
                    <a:pt x="1528318" y="677697"/>
                  </a:lnTo>
                  <a:lnTo>
                    <a:pt x="1483525" y="495134"/>
                  </a:lnTo>
                  <a:lnTo>
                    <a:pt x="1431239" y="495134"/>
                  </a:lnTo>
                  <a:lnTo>
                    <a:pt x="1472374" y="651573"/>
                  </a:lnTo>
                  <a:lnTo>
                    <a:pt x="1512887" y="808355"/>
                  </a:lnTo>
                  <a:lnTo>
                    <a:pt x="1568551" y="808355"/>
                  </a:lnTo>
                  <a:lnTo>
                    <a:pt x="1622120" y="616369"/>
                  </a:lnTo>
                  <a:lnTo>
                    <a:pt x="1626146" y="600062"/>
                  </a:lnTo>
                  <a:lnTo>
                    <a:pt x="1632597" y="570026"/>
                  </a:lnTo>
                  <a:lnTo>
                    <a:pt x="1635417" y="554266"/>
                  </a:lnTo>
                  <a:lnTo>
                    <a:pt x="1636217" y="559650"/>
                  </a:lnTo>
                  <a:lnTo>
                    <a:pt x="1639316" y="575678"/>
                  </a:lnTo>
                  <a:lnTo>
                    <a:pt x="1644091" y="597154"/>
                  </a:lnTo>
                  <a:lnTo>
                    <a:pt x="1648383" y="614794"/>
                  </a:lnTo>
                  <a:lnTo>
                    <a:pt x="1703311" y="808355"/>
                  </a:lnTo>
                  <a:lnTo>
                    <a:pt x="1759026" y="808355"/>
                  </a:lnTo>
                  <a:lnTo>
                    <a:pt x="1840636" y="495134"/>
                  </a:lnTo>
                  <a:close/>
                </a:path>
                <a:path w="3615690" h="1275079">
                  <a:moveTo>
                    <a:pt x="1936191" y="495160"/>
                  </a:moveTo>
                  <a:lnTo>
                    <a:pt x="1884984" y="495160"/>
                  </a:lnTo>
                  <a:lnTo>
                    <a:pt x="1884984" y="808393"/>
                  </a:lnTo>
                  <a:lnTo>
                    <a:pt x="1936191" y="808393"/>
                  </a:lnTo>
                  <a:lnTo>
                    <a:pt x="1936191" y="495160"/>
                  </a:lnTo>
                  <a:close/>
                </a:path>
                <a:path w="3615690" h="1275079">
                  <a:moveTo>
                    <a:pt x="1950872" y="4635"/>
                  </a:moveTo>
                  <a:lnTo>
                    <a:pt x="1864220" y="4635"/>
                  </a:lnTo>
                  <a:lnTo>
                    <a:pt x="1864220" y="193344"/>
                  </a:lnTo>
                  <a:lnTo>
                    <a:pt x="1863471" y="209562"/>
                  </a:lnTo>
                  <a:lnTo>
                    <a:pt x="1845386" y="250228"/>
                  </a:lnTo>
                  <a:lnTo>
                    <a:pt x="1813775" y="258864"/>
                  </a:lnTo>
                  <a:lnTo>
                    <a:pt x="1802130" y="257898"/>
                  </a:lnTo>
                  <a:lnTo>
                    <a:pt x="1770672" y="234543"/>
                  </a:lnTo>
                  <a:lnTo>
                    <a:pt x="1763509" y="193802"/>
                  </a:lnTo>
                  <a:lnTo>
                    <a:pt x="1763509" y="4635"/>
                  </a:lnTo>
                  <a:lnTo>
                    <a:pt x="1676412" y="4635"/>
                  </a:lnTo>
                  <a:lnTo>
                    <a:pt x="1676412" y="200634"/>
                  </a:lnTo>
                  <a:lnTo>
                    <a:pt x="1678609" y="230441"/>
                  </a:lnTo>
                  <a:lnTo>
                    <a:pt x="1696212" y="278955"/>
                  </a:lnTo>
                  <a:lnTo>
                    <a:pt x="1731124" y="312420"/>
                  </a:lnTo>
                  <a:lnTo>
                    <a:pt x="1781530" y="329285"/>
                  </a:lnTo>
                  <a:lnTo>
                    <a:pt x="1812429" y="331393"/>
                  </a:lnTo>
                  <a:lnTo>
                    <a:pt x="1844040" y="329222"/>
                  </a:lnTo>
                  <a:lnTo>
                    <a:pt x="1895436" y="311873"/>
                  </a:lnTo>
                  <a:lnTo>
                    <a:pt x="1930819" y="277533"/>
                  </a:lnTo>
                  <a:lnTo>
                    <a:pt x="1948649" y="228523"/>
                  </a:lnTo>
                  <a:lnTo>
                    <a:pt x="1950872" y="198653"/>
                  </a:lnTo>
                  <a:lnTo>
                    <a:pt x="1950872" y="4635"/>
                  </a:lnTo>
                  <a:close/>
                </a:path>
                <a:path w="3615690" h="1275079">
                  <a:moveTo>
                    <a:pt x="1970163" y="953706"/>
                  </a:moveTo>
                  <a:lnTo>
                    <a:pt x="1743989" y="953706"/>
                  </a:lnTo>
                  <a:lnTo>
                    <a:pt x="1743989" y="974026"/>
                  </a:lnTo>
                  <a:lnTo>
                    <a:pt x="1846008" y="974026"/>
                  </a:lnTo>
                  <a:lnTo>
                    <a:pt x="1846008" y="1267396"/>
                  </a:lnTo>
                  <a:lnTo>
                    <a:pt x="1868131" y="1267396"/>
                  </a:lnTo>
                  <a:lnTo>
                    <a:pt x="1868131" y="974026"/>
                  </a:lnTo>
                  <a:lnTo>
                    <a:pt x="1970163" y="974026"/>
                  </a:lnTo>
                  <a:lnTo>
                    <a:pt x="1970163" y="953706"/>
                  </a:lnTo>
                  <a:close/>
                </a:path>
                <a:path w="3615690" h="1275079">
                  <a:moveTo>
                    <a:pt x="2038629" y="953401"/>
                  </a:moveTo>
                  <a:lnTo>
                    <a:pt x="2016734" y="953401"/>
                  </a:lnTo>
                  <a:lnTo>
                    <a:pt x="2016734" y="1267396"/>
                  </a:lnTo>
                  <a:lnTo>
                    <a:pt x="2038629" y="1267396"/>
                  </a:lnTo>
                  <a:lnTo>
                    <a:pt x="2038629" y="953401"/>
                  </a:lnTo>
                  <a:close/>
                </a:path>
                <a:path w="3615690" h="1275079">
                  <a:moveTo>
                    <a:pt x="2219210" y="494665"/>
                  </a:moveTo>
                  <a:lnTo>
                    <a:pt x="1983778" y="494665"/>
                  </a:lnTo>
                  <a:lnTo>
                    <a:pt x="1983778" y="539115"/>
                  </a:lnTo>
                  <a:lnTo>
                    <a:pt x="2075865" y="539115"/>
                  </a:lnTo>
                  <a:lnTo>
                    <a:pt x="2075865" y="808355"/>
                  </a:lnTo>
                  <a:lnTo>
                    <a:pt x="2127072" y="808355"/>
                  </a:lnTo>
                  <a:lnTo>
                    <a:pt x="2127072" y="539115"/>
                  </a:lnTo>
                  <a:lnTo>
                    <a:pt x="2219210" y="539115"/>
                  </a:lnTo>
                  <a:lnTo>
                    <a:pt x="2219210" y="494665"/>
                  </a:lnTo>
                  <a:close/>
                </a:path>
                <a:path w="3615690" h="1275079">
                  <a:moveTo>
                    <a:pt x="2227961" y="23152"/>
                  </a:moveTo>
                  <a:lnTo>
                    <a:pt x="2202205" y="13030"/>
                  </a:lnTo>
                  <a:lnTo>
                    <a:pt x="2176678" y="5791"/>
                  </a:lnTo>
                  <a:lnTo>
                    <a:pt x="2151405" y="1447"/>
                  </a:lnTo>
                  <a:lnTo>
                    <a:pt x="2126386" y="0"/>
                  </a:lnTo>
                  <a:lnTo>
                    <a:pt x="2099703" y="1562"/>
                  </a:lnTo>
                  <a:lnTo>
                    <a:pt x="2055393" y="14020"/>
                  </a:lnTo>
                  <a:lnTo>
                    <a:pt x="2023656" y="38608"/>
                  </a:lnTo>
                  <a:lnTo>
                    <a:pt x="2007527" y="73342"/>
                  </a:lnTo>
                  <a:lnTo>
                    <a:pt x="2005520" y="94386"/>
                  </a:lnTo>
                  <a:lnTo>
                    <a:pt x="2005990" y="105892"/>
                  </a:lnTo>
                  <a:lnTo>
                    <a:pt x="2017356" y="144068"/>
                  </a:lnTo>
                  <a:lnTo>
                    <a:pt x="2045157" y="173253"/>
                  </a:lnTo>
                  <a:lnTo>
                    <a:pt x="2083396" y="194246"/>
                  </a:lnTo>
                  <a:lnTo>
                    <a:pt x="2111387" y="207276"/>
                  </a:lnTo>
                  <a:lnTo>
                    <a:pt x="2120392" y="211785"/>
                  </a:lnTo>
                  <a:lnTo>
                    <a:pt x="2141309" y="232194"/>
                  </a:lnTo>
                  <a:lnTo>
                    <a:pt x="2141309" y="243662"/>
                  </a:lnTo>
                  <a:lnTo>
                    <a:pt x="2103996" y="260616"/>
                  </a:lnTo>
                  <a:lnTo>
                    <a:pt x="2092528" y="260159"/>
                  </a:lnTo>
                  <a:lnTo>
                    <a:pt x="2054847" y="253453"/>
                  </a:lnTo>
                  <a:lnTo>
                    <a:pt x="2015832" y="239560"/>
                  </a:lnTo>
                  <a:lnTo>
                    <a:pt x="2003323" y="233502"/>
                  </a:lnTo>
                  <a:lnTo>
                    <a:pt x="2003323" y="311111"/>
                  </a:lnTo>
                  <a:lnTo>
                    <a:pt x="2048510" y="326885"/>
                  </a:lnTo>
                  <a:lnTo>
                    <a:pt x="2086864" y="331114"/>
                  </a:lnTo>
                  <a:lnTo>
                    <a:pt x="2102231" y="331393"/>
                  </a:lnTo>
                  <a:lnTo>
                    <a:pt x="2120811" y="330593"/>
                  </a:lnTo>
                  <a:lnTo>
                    <a:pt x="2169185" y="318528"/>
                  </a:lnTo>
                  <a:lnTo>
                    <a:pt x="2204440" y="293319"/>
                  </a:lnTo>
                  <a:lnTo>
                    <a:pt x="2224189" y="257403"/>
                  </a:lnTo>
                  <a:lnTo>
                    <a:pt x="2227961" y="229095"/>
                  </a:lnTo>
                  <a:lnTo>
                    <a:pt x="2226957" y="213474"/>
                  </a:lnTo>
                  <a:lnTo>
                    <a:pt x="2211819" y="174942"/>
                  </a:lnTo>
                  <a:lnTo>
                    <a:pt x="2173401" y="144259"/>
                  </a:lnTo>
                  <a:lnTo>
                    <a:pt x="2134743" y="125564"/>
                  </a:lnTo>
                  <a:lnTo>
                    <a:pt x="2119401" y="117957"/>
                  </a:lnTo>
                  <a:lnTo>
                    <a:pt x="2108250" y="111899"/>
                  </a:lnTo>
                  <a:lnTo>
                    <a:pt x="2101291" y="107378"/>
                  </a:lnTo>
                  <a:lnTo>
                    <a:pt x="2094776" y="102387"/>
                  </a:lnTo>
                  <a:lnTo>
                    <a:pt x="2091499" y="96723"/>
                  </a:lnTo>
                  <a:lnTo>
                    <a:pt x="2091499" y="84531"/>
                  </a:lnTo>
                  <a:lnTo>
                    <a:pt x="2094064" y="79590"/>
                  </a:lnTo>
                  <a:lnTo>
                    <a:pt x="2104313" y="71678"/>
                  </a:lnTo>
                  <a:lnTo>
                    <a:pt x="2112492" y="69697"/>
                  </a:lnTo>
                  <a:lnTo>
                    <a:pt x="2123732" y="69697"/>
                  </a:lnTo>
                  <a:lnTo>
                    <a:pt x="2140851" y="70993"/>
                  </a:lnTo>
                  <a:lnTo>
                    <a:pt x="2159508" y="74879"/>
                  </a:lnTo>
                  <a:lnTo>
                    <a:pt x="2179701" y="81356"/>
                  </a:lnTo>
                  <a:lnTo>
                    <a:pt x="2201430" y="90411"/>
                  </a:lnTo>
                  <a:lnTo>
                    <a:pt x="2227961" y="23152"/>
                  </a:lnTo>
                  <a:close/>
                </a:path>
                <a:path w="3615690" h="1275079">
                  <a:moveTo>
                    <a:pt x="2366784" y="1109116"/>
                  </a:moveTo>
                  <a:lnTo>
                    <a:pt x="2251049" y="1109116"/>
                  </a:lnTo>
                  <a:lnTo>
                    <a:pt x="2251049" y="1129753"/>
                  </a:lnTo>
                  <a:lnTo>
                    <a:pt x="2344496" y="1129753"/>
                  </a:lnTo>
                  <a:lnTo>
                    <a:pt x="2344496" y="1240091"/>
                  </a:lnTo>
                  <a:lnTo>
                    <a:pt x="2328532" y="1245463"/>
                  </a:lnTo>
                  <a:lnTo>
                    <a:pt x="2310930" y="1249299"/>
                  </a:lnTo>
                  <a:lnTo>
                    <a:pt x="2291689" y="1251610"/>
                  </a:lnTo>
                  <a:lnTo>
                    <a:pt x="2270785" y="1252372"/>
                  </a:lnTo>
                  <a:lnTo>
                    <a:pt x="2239327" y="1250137"/>
                  </a:lnTo>
                  <a:lnTo>
                    <a:pt x="2188540" y="1232268"/>
                  </a:lnTo>
                  <a:lnTo>
                    <a:pt x="2154110" y="1196555"/>
                  </a:lnTo>
                  <a:lnTo>
                    <a:pt x="2136800" y="1143215"/>
                  </a:lnTo>
                  <a:lnTo>
                    <a:pt x="2134641" y="1109967"/>
                  </a:lnTo>
                  <a:lnTo>
                    <a:pt x="2136914" y="1079106"/>
                  </a:lnTo>
                  <a:lnTo>
                    <a:pt x="2155126" y="1027417"/>
                  </a:lnTo>
                  <a:lnTo>
                    <a:pt x="2190877" y="989812"/>
                  </a:lnTo>
                  <a:lnTo>
                    <a:pt x="2240115" y="970635"/>
                  </a:lnTo>
                  <a:lnTo>
                    <a:pt x="2269528" y="968235"/>
                  </a:lnTo>
                  <a:lnTo>
                    <a:pt x="2291245" y="969416"/>
                  </a:lnTo>
                  <a:lnTo>
                    <a:pt x="2312593" y="972959"/>
                  </a:lnTo>
                  <a:lnTo>
                    <a:pt x="2333561" y="978865"/>
                  </a:lnTo>
                  <a:lnTo>
                    <a:pt x="2354161" y="987120"/>
                  </a:lnTo>
                  <a:lnTo>
                    <a:pt x="2362962" y="967384"/>
                  </a:lnTo>
                  <a:lnTo>
                    <a:pt x="2341880" y="959116"/>
                  </a:lnTo>
                  <a:lnTo>
                    <a:pt x="2319490" y="953198"/>
                  </a:lnTo>
                  <a:lnTo>
                    <a:pt x="2295791" y="949642"/>
                  </a:lnTo>
                  <a:lnTo>
                    <a:pt x="2270785" y="948461"/>
                  </a:lnTo>
                  <a:lnTo>
                    <a:pt x="2247747" y="949718"/>
                  </a:lnTo>
                  <a:lnTo>
                    <a:pt x="2205723" y="959815"/>
                  </a:lnTo>
                  <a:lnTo>
                    <a:pt x="2169503" y="979805"/>
                  </a:lnTo>
                  <a:lnTo>
                    <a:pt x="2141347" y="1008430"/>
                  </a:lnTo>
                  <a:lnTo>
                    <a:pt x="2121865" y="1045083"/>
                  </a:lnTo>
                  <a:lnTo>
                    <a:pt x="2112035" y="1087551"/>
                  </a:lnTo>
                  <a:lnTo>
                    <a:pt x="2110803" y="1110818"/>
                  </a:lnTo>
                  <a:lnTo>
                    <a:pt x="2113280" y="1147076"/>
                  </a:lnTo>
                  <a:lnTo>
                    <a:pt x="2133104" y="1206525"/>
                  </a:lnTo>
                  <a:lnTo>
                    <a:pt x="2172424" y="1248067"/>
                  </a:lnTo>
                  <a:lnTo>
                    <a:pt x="2229396" y="1269072"/>
                  </a:lnTo>
                  <a:lnTo>
                    <a:pt x="2264359" y="1271701"/>
                  </a:lnTo>
                  <a:lnTo>
                    <a:pt x="2292108" y="1270495"/>
                  </a:lnTo>
                  <a:lnTo>
                    <a:pt x="2318423" y="1266875"/>
                  </a:lnTo>
                  <a:lnTo>
                    <a:pt x="2343315" y="1260830"/>
                  </a:lnTo>
                  <a:lnTo>
                    <a:pt x="2366784" y="1252372"/>
                  </a:lnTo>
                  <a:lnTo>
                    <a:pt x="2366784" y="1109116"/>
                  </a:lnTo>
                  <a:close/>
                </a:path>
                <a:path w="3615690" h="1275079">
                  <a:moveTo>
                    <a:pt x="2497150" y="4419"/>
                  </a:moveTo>
                  <a:lnTo>
                    <a:pt x="2254072" y="4419"/>
                  </a:lnTo>
                  <a:lnTo>
                    <a:pt x="2254072" y="75539"/>
                  </a:lnTo>
                  <a:lnTo>
                    <a:pt x="2332405" y="75539"/>
                  </a:lnTo>
                  <a:lnTo>
                    <a:pt x="2332405" y="326999"/>
                  </a:lnTo>
                  <a:lnTo>
                    <a:pt x="2419045" y="326999"/>
                  </a:lnTo>
                  <a:lnTo>
                    <a:pt x="2419045" y="75539"/>
                  </a:lnTo>
                  <a:lnTo>
                    <a:pt x="2497150" y="75539"/>
                  </a:lnTo>
                  <a:lnTo>
                    <a:pt x="2497150" y="4419"/>
                  </a:lnTo>
                  <a:close/>
                </a:path>
                <a:path w="3615690" h="1275079">
                  <a:moveTo>
                    <a:pt x="2514206" y="494665"/>
                  </a:moveTo>
                  <a:lnTo>
                    <a:pt x="2462771" y="494665"/>
                  </a:lnTo>
                  <a:lnTo>
                    <a:pt x="2462771" y="622935"/>
                  </a:lnTo>
                  <a:lnTo>
                    <a:pt x="2318397" y="622935"/>
                  </a:lnTo>
                  <a:lnTo>
                    <a:pt x="2318397" y="494665"/>
                  </a:lnTo>
                  <a:lnTo>
                    <a:pt x="2267166" y="494665"/>
                  </a:lnTo>
                  <a:lnTo>
                    <a:pt x="2267166" y="622935"/>
                  </a:lnTo>
                  <a:lnTo>
                    <a:pt x="2267166" y="667385"/>
                  </a:lnTo>
                  <a:lnTo>
                    <a:pt x="2267166" y="808355"/>
                  </a:lnTo>
                  <a:lnTo>
                    <a:pt x="2318397" y="808355"/>
                  </a:lnTo>
                  <a:lnTo>
                    <a:pt x="2318397" y="667385"/>
                  </a:lnTo>
                  <a:lnTo>
                    <a:pt x="2462771" y="667385"/>
                  </a:lnTo>
                  <a:lnTo>
                    <a:pt x="2462771" y="808355"/>
                  </a:lnTo>
                  <a:lnTo>
                    <a:pt x="2514206" y="808355"/>
                  </a:lnTo>
                  <a:lnTo>
                    <a:pt x="2514206" y="667385"/>
                  </a:lnTo>
                  <a:lnTo>
                    <a:pt x="2514206" y="622935"/>
                  </a:lnTo>
                  <a:lnTo>
                    <a:pt x="2514206" y="494665"/>
                  </a:lnTo>
                  <a:close/>
                </a:path>
                <a:path w="3615690" h="1275079">
                  <a:moveTo>
                    <a:pt x="2630093" y="4648"/>
                  </a:moveTo>
                  <a:lnTo>
                    <a:pt x="2542997" y="4648"/>
                  </a:lnTo>
                  <a:lnTo>
                    <a:pt x="2542997" y="326999"/>
                  </a:lnTo>
                  <a:lnTo>
                    <a:pt x="2630093" y="326999"/>
                  </a:lnTo>
                  <a:lnTo>
                    <a:pt x="2630093" y="4648"/>
                  </a:lnTo>
                  <a:close/>
                </a:path>
                <a:path w="3615690" h="1275079">
                  <a:moveTo>
                    <a:pt x="2665107" y="1267396"/>
                  </a:moveTo>
                  <a:lnTo>
                    <a:pt x="2621623" y="1156563"/>
                  </a:lnTo>
                  <a:lnTo>
                    <a:pt x="2613876" y="1136827"/>
                  </a:lnTo>
                  <a:lnTo>
                    <a:pt x="2589517" y="1074762"/>
                  </a:lnTo>
                  <a:lnTo>
                    <a:pt x="2589517" y="1136827"/>
                  </a:lnTo>
                  <a:lnTo>
                    <a:pt x="2477198" y="1136827"/>
                  </a:lnTo>
                  <a:lnTo>
                    <a:pt x="2524595" y="1015441"/>
                  </a:lnTo>
                  <a:lnTo>
                    <a:pt x="2527833" y="1006348"/>
                  </a:lnTo>
                  <a:lnTo>
                    <a:pt x="2530932" y="996759"/>
                  </a:lnTo>
                  <a:lnTo>
                    <a:pt x="2533904" y="986688"/>
                  </a:lnTo>
                  <a:lnTo>
                    <a:pt x="2537523" y="997877"/>
                  </a:lnTo>
                  <a:lnTo>
                    <a:pt x="2540876" y="1007745"/>
                  </a:lnTo>
                  <a:lnTo>
                    <a:pt x="2543975" y="1016330"/>
                  </a:lnTo>
                  <a:lnTo>
                    <a:pt x="2546807" y="1023645"/>
                  </a:lnTo>
                  <a:lnTo>
                    <a:pt x="2589517" y="1136827"/>
                  </a:lnTo>
                  <a:lnTo>
                    <a:pt x="2589517" y="1074762"/>
                  </a:lnTo>
                  <a:lnTo>
                    <a:pt x="2554960" y="986688"/>
                  </a:lnTo>
                  <a:lnTo>
                    <a:pt x="2541409" y="952157"/>
                  </a:lnTo>
                  <a:lnTo>
                    <a:pt x="2527427" y="952157"/>
                  </a:lnTo>
                  <a:lnTo>
                    <a:pt x="2401176" y="1267396"/>
                  </a:lnTo>
                  <a:lnTo>
                    <a:pt x="2425458" y="1267396"/>
                  </a:lnTo>
                  <a:lnTo>
                    <a:pt x="2469248" y="1156563"/>
                  </a:lnTo>
                  <a:lnTo>
                    <a:pt x="2596807" y="1156563"/>
                  </a:lnTo>
                  <a:lnTo>
                    <a:pt x="2640419" y="1267396"/>
                  </a:lnTo>
                  <a:lnTo>
                    <a:pt x="2665107" y="1267396"/>
                  </a:lnTo>
                  <a:close/>
                </a:path>
                <a:path w="3615690" h="1275079">
                  <a:moveTo>
                    <a:pt x="2874759" y="651344"/>
                  </a:moveTo>
                  <a:lnTo>
                    <a:pt x="2872384" y="615149"/>
                  </a:lnTo>
                  <a:lnTo>
                    <a:pt x="2865221" y="583260"/>
                  </a:lnTo>
                  <a:lnTo>
                    <a:pt x="2853309" y="555701"/>
                  </a:lnTo>
                  <a:lnTo>
                    <a:pt x="2837853" y="534162"/>
                  </a:lnTo>
                  <a:lnTo>
                    <a:pt x="2836634" y="532460"/>
                  </a:lnTo>
                  <a:lnTo>
                    <a:pt x="2820352" y="518185"/>
                  </a:lnTo>
                  <a:lnTo>
                    <a:pt x="2820352" y="651344"/>
                  </a:lnTo>
                  <a:lnTo>
                    <a:pt x="2818904" y="678776"/>
                  </a:lnTo>
                  <a:lnTo>
                    <a:pt x="2807284" y="722795"/>
                  </a:lnTo>
                  <a:lnTo>
                    <a:pt x="2768257" y="761555"/>
                  </a:lnTo>
                  <a:lnTo>
                    <a:pt x="2728226" y="768972"/>
                  </a:lnTo>
                  <a:lnTo>
                    <a:pt x="2706700" y="767092"/>
                  </a:lnTo>
                  <a:lnTo>
                    <a:pt x="2659024" y="739063"/>
                  </a:lnTo>
                  <a:lnTo>
                    <a:pt x="2641511" y="702183"/>
                  </a:lnTo>
                  <a:lnTo>
                    <a:pt x="2635681" y="651344"/>
                  </a:lnTo>
                  <a:lnTo>
                    <a:pt x="2637155" y="624255"/>
                  </a:lnTo>
                  <a:lnTo>
                    <a:pt x="2648877" y="580567"/>
                  </a:lnTo>
                  <a:lnTo>
                    <a:pt x="2688247" y="541604"/>
                  </a:lnTo>
                  <a:lnTo>
                    <a:pt x="2728671" y="534162"/>
                  </a:lnTo>
                  <a:lnTo>
                    <a:pt x="2750058" y="536028"/>
                  </a:lnTo>
                  <a:lnTo>
                    <a:pt x="2797327" y="563930"/>
                  </a:lnTo>
                  <a:lnTo>
                    <a:pt x="2814599" y="600671"/>
                  </a:lnTo>
                  <a:lnTo>
                    <a:pt x="2820352" y="651344"/>
                  </a:lnTo>
                  <a:lnTo>
                    <a:pt x="2820352" y="518185"/>
                  </a:lnTo>
                  <a:lnTo>
                    <a:pt x="2815564" y="513981"/>
                  </a:lnTo>
                  <a:lnTo>
                    <a:pt x="2790558" y="500786"/>
                  </a:lnTo>
                  <a:lnTo>
                    <a:pt x="2761589" y="492874"/>
                  </a:lnTo>
                  <a:lnTo>
                    <a:pt x="2728671" y="490232"/>
                  </a:lnTo>
                  <a:lnTo>
                    <a:pt x="2695244" y="492836"/>
                  </a:lnTo>
                  <a:lnTo>
                    <a:pt x="2640660" y="513600"/>
                  </a:lnTo>
                  <a:lnTo>
                    <a:pt x="2602776" y="554812"/>
                  </a:lnTo>
                  <a:lnTo>
                    <a:pt x="2583662" y="614375"/>
                  </a:lnTo>
                  <a:lnTo>
                    <a:pt x="2581275" y="650887"/>
                  </a:lnTo>
                  <a:lnTo>
                    <a:pt x="2583650" y="687463"/>
                  </a:lnTo>
                  <a:lnTo>
                    <a:pt x="2602661" y="747280"/>
                  </a:lnTo>
                  <a:lnTo>
                    <a:pt x="2640355" y="788949"/>
                  </a:lnTo>
                  <a:lnTo>
                    <a:pt x="2694825" y="809993"/>
                  </a:lnTo>
                  <a:lnTo>
                    <a:pt x="2728226" y="812622"/>
                  </a:lnTo>
                  <a:lnTo>
                    <a:pt x="2761272" y="809980"/>
                  </a:lnTo>
                  <a:lnTo>
                    <a:pt x="2815437" y="788784"/>
                  </a:lnTo>
                  <a:lnTo>
                    <a:pt x="2853271" y="746887"/>
                  </a:lnTo>
                  <a:lnTo>
                    <a:pt x="2872371" y="687451"/>
                  </a:lnTo>
                  <a:lnTo>
                    <a:pt x="2874759" y="651344"/>
                  </a:lnTo>
                  <a:close/>
                </a:path>
                <a:path w="3615690" h="1275079">
                  <a:moveTo>
                    <a:pt x="2893428" y="953706"/>
                  </a:moveTo>
                  <a:lnTo>
                    <a:pt x="2667241" y="953706"/>
                  </a:lnTo>
                  <a:lnTo>
                    <a:pt x="2667241" y="974026"/>
                  </a:lnTo>
                  <a:lnTo>
                    <a:pt x="2769273" y="974026"/>
                  </a:lnTo>
                  <a:lnTo>
                    <a:pt x="2769273" y="1267396"/>
                  </a:lnTo>
                  <a:lnTo>
                    <a:pt x="2791396" y="1267396"/>
                  </a:lnTo>
                  <a:lnTo>
                    <a:pt x="2791396" y="974026"/>
                  </a:lnTo>
                  <a:lnTo>
                    <a:pt x="2893428" y="974026"/>
                  </a:lnTo>
                  <a:lnTo>
                    <a:pt x="2893428" y="953706"/>
                  </a:lnTo>
                  <a:close/>
                </a:path>
                <a:path w="3615690" h="1275079">
                  <a:moveTo>
                    <a:pt x="2942539" y="22707"/>
                  </a:moveTo>
                  <a:lnTo>
                    <a:pt x="2918536" y="12776"/>
                  </a:lnTo>
                  <a:lnTo>
                    <a:pt x="2893974" y="5689"/>
                  </a:lnTo>
                  <a:lnTo>
                    <a:pt x="2868853" y="1422"/>
                  </a:lnTo>
                  <a:lnTo>
                    <a:pt x="2843161" y="0"/>
                  </a:lnTo>
                  <a:lnTo>
                    <a:pt x="2820136" y="1270"/>
                  </a:lnTo>
                  <a:lnTo>
                    <a:pt x="2778722" y="11468"/>
                  </a:lnTo>
                  <a:lnTo>
                    <a:pt x="2743746" y="31699"/>
                  </a:lnTo>
                  <a:lnTo>
                    <a:pt x="2716746" y="60871"/>
                  </a:lnTo>
                  <a:lnTo>
                    <a:pt x="2698140" y="98437"/>
                  </a:lnTo>
                  <a:lnTo>
                    <a:pt x="2688767" y="142417"/>
                  </a:lnTo>
                  <a:lnTo>
                    <a:pt x="2687586" y="166674"/>
                  </a:lnTo>
                  <a:lnTo>
                    <a:pt x="2690012" y="204355"/>
                  </a:lnTo>
                  <a:lnTo>
                    <a:pt x="2709367" y="265544"/>
                  </a:lnTo>
                  <a:lnTo>
                    <a:pt x="2747784" y="307594"/>
                  </a:lnTo>
                  <a:lnTo>
                    <a:pt x="2803474" y="328739"/>
                  </a:lnTo>
                  <a:lnTo>
                    <a:pt x="2837675" y="331381"/>
                  </a:lnTo>
                  <a:lnTo>
                    <a:pt x="2862351" y="330276"/>
                  </a:lnTo>
                  <a:lnTo>
                    <a:pt x="2907741" y="321348"/>
                  </a:lnTo>
                  <a:lnTo>
                    <a:pt x="2928467" y="239877"/>
                  </a:lnTo>
                  <a:lnTo>
                    <a:pt x="2918396" y="243941"/>
                  </a:lnTo>
                  <a:lnTo>
                    <a:pt x="2908363" y="247675"/>
                  </a:lnTo>
                  <a:lnTo>
                    <a:pt x="2868053" y="258673"/>
                  </a:lnTo>
                  <a:lnTo>
                    <a:pt x="2847073" y="260159"/>
                  </a:lnTo>
                  <a:lnTo>
                    <a:pt x="2816263" y="254355"/>
                  </a:lnTo>
                  <a:lnTo>
                    <a:pt x="2794266" y="236918"/>
                  </a:lnTo>
                  <a:lnTo>
                    <a:pt x="2781071" y="207835"/>
                  </a:lnTo>
                  <a:lnTo>
                    <a:pt x="2776664" y="167132"/>
                  </a:lnTo>
                  <a:lnTo>
                    <a:pt x="2777756" y="145948"/>
                  </a:lnTo>
                  <a:lnTo>
                    <a:pt x="2793974" y="96901"/>
                  </a:lnTo>
                  <a:lnTo>
                    <a:pt x="2827642" y="73037"/>
                  </a:lnTo>
                  <a:lnTo>
                    <a:pt x="2842272" y="71450"/>
                  </a:lnTo>
                  <a:lnTo>
                    <a:pt x="2852293" y="71805"/>
                  </a:lnTo>
                  <a:lnTo>
                    <a:pt x="2898203" y="83553"/>
                  </a:lnTo>
                  <a:lnTo>
                    <a:pt x="2916009" y="91274"/>
                  </a:lnTo>
                  <a:lnTo>
                    <a:pt x="2942539" y="22707"/>
                  </a:lnTo>
                  <a:close/>
                </a:path>
                <a:path w="3615690" h="1275079">
                  <a:moveTo>
                    <a:pt x="2961932" y="953401"/>
                  </a:moveTo>
                  <a:lnTo>
                    <a:pt x="2940037" y="953401"/>
                  </a:lnTo>
                  <a:lnTo>
                    <a:pt x="2940037" y="1267396"/>
                  </a:lnTo>
                  <a:lnTo>
                    <a:pt x="2961932" y="1267396"/>
                  </a:lnTo>
                  <a:lnTo>
                    <a:pt x="2961932" y="953401"/>
                  </a:lnTo>
                  <a:close/>
                </a:path>
                <a:path w="3615690" h="1275079">
                  <a:moveTo>
                    <a:pt x="3181439" y="4419"/>
                  </a:moveTo>
                  <a:lnTo>
                    <a:pt x="2991015" y="4419"/>
                  </a:lnTo>
                  <a:lnTo>
                    <a:pt x="2991015" y="74269"/>
                  </a:lnTo>
                  <a:lnTo>
                    <a:pt x="2991015" y="125069"/>
                  </a:lnTo>
                  <a:lnTo>
                    <a:pt x="2991015" y="194919"/>
                  </a:lnTo>
                  <a:lnTo>
                    <a:pt x="2991015" y="255879"/>
                  </a:lnTo>
                  <a:lnTo>
                    <a:pt x="2991015" y="326999"/>
                  </a:lnTo>
                  <a:lnTo>
                    <a:pt x="3181439" y="326999"/>
                  </a:lnTo>
                  <a:lnTo>
                    <a:pt x="3181439" y="255879"/>
                  </a:lnTo>
                  <a:lnTo>
                    <a:pt x="3077667" y="255879"/>
                  </a:lnTo>
                  <a:lnTo>
                    <a:pt x="3077667" y="194919"/>
                  </a:lnTo>
                  <a:lnTo>
                    <a:pt x="3173755" y="194919"/>
                  </a:lnTo>
                  <a:lnTo>
                    <a:pt x="3173755" y="125069"/>
                  </a:lnTo>
                  <a:lnTo>
                    <a:pt x="3077667" y="125069"/>
                  </a:lnTo>
                  <a:lnTo>
                    <a:pt x="3077667" y="74269"/>
                  </a:lnTo>
                  <a:lnTo>
                    <a:pt x="3181439" y="74269"/>
                  </a:lnTo>
                  <a:lnTo>
                    <a:pt x="3181439" y="4419"/>
                  </a:lnTo>
                  <a:close/>
                </a:path>
                <a:path w="3615690" h="1275079">
                  <a:moveTo>
                    <a:pt x="3187560" y="495160"/>
                  </a:moveTo>
                  <a:lnTo>
                    <a:pt x="3136341" y="495160"/>
                  </a:lnTo>
                  <a:lnTo>
                    <a:pt x="3136341" y="692912"/>
                  </a:lnTo>
                  <a:lnTo>
                    <a:pt x="3131820" y="726173"/>
                  </a:lnTo>
                  <a:lnTo>
                    <a:pt x="3118243" y="749935"/>
                  </a:lnTo>
                  <a:lnTo>
                    <a:pt x="3095612" y="764197"/>
                  </a:lnTo>
                  <a:lnTo>
                    <a:pt x="3063951" y="768946"/>
                  </a:lnTo>
                  <a:lnTo>
                    <a:pt x="3046501" y="767791"/>
                  </a:lnTo>
                  <a:lnTo>
                    <a:pt x="3008680" y="750506"/>
                  </a:lnTo>
                  <a:lnTo>
                    <a:pt x="2991777" y="711428"/>
                  </a:lnTo>
                  <a:lnTo>
                    <a:pt x="2990646" y="693318"/>
                  </a:lnTo>
                  <a:lnTo>
                    <a:pt x="2990646" y="495160"/>
                  </a:lnTo>
                  <a:lnTo>
                    <a:pt x="2939262" y="495160"/>
                  </a:lnTo>
                  <a:lnTo>
                    <a:pt x="2939262" y="696950"/>
                  </a:lnTo>
                  <a:lnTo>
                    <a:pt x="2941282" y="722503"/>
                  </a:lnTo>
                  <a:lnTo>
                    <a:pt x="2957449" y="764933"/>
                  </a:lnTo>
                  <a:lnTo>
                    <a:pt x="2989402" y="795299"/>
                  </a:lnTo>
                  <a:lnTo>
                    <a:pt x="3034728" y="810717"/>
                  </a:lnTo>
                  <a:lnTo>
                    <a:pt x="3062236" y="812660"/>
                  </a:lnTo>
                  <a:lnTo>
                    <a:pt x="3081147" y="811771"/>
                  </a:lnTo>
                  <a:lnTo>
                    <a:pt x="3129597" y="798626"/>
                  </a:lnTo>
                  <a:lnTo>
                    <a:pt x="3164395" y="770826"/>
                  </a:lnTo>
                  <a:lnTo>
                    <a:pt x="3183826" y="730364"/>
                  </a:lnTo>
                  <a:lnTo>
                    <a:pt x="3187560" y="697814"/>
                  </a:lnTo>
                  <a:lnTo>
                    <a:pt x="3187560" y="495160"/>
                  </a:lnTo>
                  <a:close/>
                </a:path>
                <a:path w="3615690" h="1275079">
                  <a:moveTo>
                    <a:pt x="3314763" y="1109967"/>
                  </a:moveTo>
                  <a:lnTo>
                    <a:pt x="3312439" y="1074470"/>
                  </a:lnTo>
                  <a:lnTo>
                    <a:pt x="3305479" y="1042936"/>
                  </a:lnTo>
                  <a:lnTo>
                    <a:pt x="3293872" y="1015365"/>
                  </a:lnTo>
                  <a:lnTo>
                    <a:pt x="3290925" y="1011097"/>
                  </a:lnTo>
                  <a:lnTo>
                    <a:pt x="3290925" y="1109967"/>
                  </a:lnTo>
                  <a:lnTo>
                    <a:pt x="3289058" y="1142034"/>
                  </a:lnTo>
                  <a:lnTo>
                    <a:pt x="3274085" y="1194333"/>
                  </a:lnTo>
                  <a:lnTo>
                    <a:pt x="3244329" y="1230541"/>
                  </a:lnTo>
                  <a:lnTo>
                    <a:pt x="3200997" y="1248791"/>
                  </a:lnTo>
                  <a:lnTo>
                    <a:pt x="3174339" y="1251064"/>
                  </a:lnTo>
                  <a:lnTo>
                    <a:pt x="3147822" y="1248765"/>
                  </a:lnTo>
                  <a:lnTo>
                    <a:pt x="3104654" y="1230350"/>
                  </a:lnTo>
                  <a:lnTo>
                    <a:pt x="3074847" y="1193914"/>
                  </a:lnTo>
                  <a:lnTo>
                    <a:pt x="3059798" y="1141780"/>
                  </a:lnTo>
                  <a:lnTo>
                    <a:pt x="3057918" y="1109967"/>
                  </a:lnTo>
                  <a:lnTo>
                    <a:pt x="3059823" y="1078268"/>
                  </a:lnTo>
                  <a:lnTo>
                    <a:pt x="3075013" y="1026401"/>
                  </a:lnTo>
                  <a:lnTo>
                    <a:pt x="3105099" y="990269"/>
                  </a:lnTo>
                  <a:lnTo>
                    <a:pt x="3148317" y="972007"/>
                  </a:lnTo>
                  <a:lnTo>
                    <a:pt x="3174746" y="969721"/>
                  </a:lnTo>
                  <a:lnTo>
                    <a:pt x="3201225" y="971981"/>
                  </a:lnTo>
                  <a:lnTo>
                    <a:pt x="3244354" y="990079"/>
                  </a:lnTo>
                  <a:lnTo>
                    <a:pt x="3274085" y="1026007"/>
                  </a:lnTo>
                  <a:lnTo>
                    <a:pt x="3289058" y="1078026"/>
                  </a:lnTo>
                  <a:lnTo>
                    <a:pt x="3290925" y="1109967"/>
                  </a:lnTo>
                  <a:lnTo>
                    <a:pt x="3290925" y="1011097"/>
                  </a:lnTo>
                  <a:lnTo>
                    <a:pt x="3257258" y="972820"/>
                  </a:lnTo>
                  <a:lnTo>
                    <a:pt x="3205835" y="951166"/>
                  </a:lnTo>
                  <a:lnTo>
                    <a:pt x="3174746" y="948461"/>
                  </a:lnTo>
                  <a:lnTo>
                    <a:pt x="3143796" y="951166"/>
                  </a:lnTo>
                  <a:lnTo>
                    <a:pt x="3092348" y="972693"/>
                  </a:lnTo>
                  <a:lnTo>
                    <a:pt x="3055277" y="1015047"/>
                  </a:lnTo>
                  <a:lnTo>
                    <a:pt x="3036443" y="1074039"/>
                  </a:lnTo>
                  <a:lnTo>
                    <a:pt x="3034093" y="1109522"/>
                  </a:lnTo>
                  <a:lnTo>
                    <a:pt x="3036430" y="1145133"/>
                  </a:lnTo>
                  <a:lnTo>
                    <a:pt x="3055124" y="1204480"/>
                  </a:lnTo>
                  <a:lnTo>
                    <a:pt x="3091891" y="1247216"/>
                  </a:lnTo>
                  <a:lnTo>
                    <a:pt x="3143326" y="1268945"/>
                  </a:lnTo>
                  <a:lnTo>
                    <a:pt x="3174339" y="1271663"/>
                  </a:lnTo>
                  <a:lnTo>
                    <a:pt x="3205416" y="1268945"/>
                  </a:lnTo>
                  <a:lnTo>
                    <a:pt x="3232950" y="1260805"/>
                  </a:lnTo>
                  <a:lnTo>
                    <a:pt x="3250146" y="1251064"/>
                  </a:lnTo>
                  <a:lnTo>
                    <a:pt x="3256940" y="1247216"/>
                  </a:lnTo>
                  <a:lnTo>
                    <a:pt x="3277387" y="1228191"/>
                  </a:lnTo>
                  <a:lnTo>
                    <a:pt x="3293745" y="1204455"/>
                  </a:lnTo>
                  <a:lnTo>
                    <a:pt x="3305416" y="1176883"/>
                  </a:lnTo>
                  <a:lnTo>
                    <a:pt x="3312426" y="1145374"/>
                  </a:lnTo>
                  <a:lnTo>
                    <a:pt x="3314763" y="1109967"/>
                  </a:lnTo>
                  <a:close/>
                </a:path>
                <a:path w="3615690" h="1275079">
                  <a:moveTo>
                    <a:pt x="3468001" y="494665"/>
                  </a:moveTo>
                  <a:lnTo>
                    <a:pt x="3232518" y="494665"/>
                  </a:lnTo>
                  <a:lnTo>
                    <a:pt x="3232518" y="539115"/>
                  </a:lnTo>
                  <a:lnTo>
                    <a:pt x="3324656" y="539115"/>
                  </a:lnTo>
                  <a:lnTo>
                    <a:pt x="3324656" y="808355"/>
                  </a:lnTo>
                  <a:lnTo>
                    <a:pt x="3375863" y="808355"/>
                  </a:lnTo>
                  <a:lnTo>
                    <a:pt x="3375863" y="539115"/>
                  </a:lnTo>
                  <a:lnTo>
                    <a:pt x="3468001" y="539115"/>
                  </a:lnTo>
                  <a:lnTo>
                    <a:pt x="3468001" y="494665"/>
                  </a:lnTo>
                  <a:close/>
                </a:path>
                <a:path w="3615690" h="1275079">
                  <a:moveTo>
                    <a:pt x="3615232" y="953401"/>
                  </a:moveTo>
                  <a:lnTo>
                    <a:pt x="3593960" y="953401"/>
                  </a:lnTo>
                  <a:lnTo>
                    <a:pt x="3593960" y="1158316"/>
                  </a:lnTo>
                  <a:lnTo>
                    <a:pt x="3594074" y="1175931"/>
                  </a:lnTo>
                  <a:lnTo>
                    <a:pt x="3594443" y="1194054"/>
                  </a:lnTo>
                  <a:lnTo>
                    <a:pt x="3595039" y="1212659"/>
                  </a:lnTo>
                  <a:lnTo>
                    <a:pt x="3595890" y="1231747"/>
                  </a:lnTo>
                  <a:lnTo>
                    <a:pt x="3594595" y="1231747"/>
                  </a:lnTo>
                  <a:lnTo>
                    <a:pt x="3408832" y="953401"/>
                  </a:lnTo>
                  <a:lnTo>
                    <a:pt x="3386937" y="953401"/>
                  </a:lnTo>
                  <a:lnTo>
                    <a:pt x="3386937" y="1267396"/>
                  </a:lnTo>
                  <a:lnTo>
                    <a:pt x="3407981" y="1267396"/>
                  </a:lnTo>
                  <a:lnTo>
                    <a:pt x="3407981" y="1063802"/>
                  </a:lnTo>
                  <a:lnTo>
                    <a:pt x="3407829" y="1049591"/>
                  </a:lnTo>
                  <a:lnTo>
                    <a:pt x="3407346" y="1032332"/>
                  </a:lnTo>
                  <a:lnTo>
                    <a:pt x="3405416" y="988618"/>
                  </a:lnTo>
                  <a:lnTo>
                    <a:pt x="3407130" y="988618"/>
                  </a:lnTo>
                  <a:lnTo>
                    <a:pt x="3593096" y="1267396"/>
                  </a:lnTo>
                  <a:lnTo>
                    <a:pt x="3615232" y="1267396"/>
                  </a:lnTo>
                  <a:lnTo>
                    <a:pt x="3615232" y="9534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b="1"/>
            </a:p>
          </p:txBody>
        </p:sp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7A96012F-314A-3842-69CF-038C794B9266}"/>
                </a:ext>
              </a:extLst>
            </p:cNvPr>
            <p:cNvSpPr/>
            <p:nvPr/>
          </p:nvSpPr>
          <p:spPr>
            <a:xfrm>
              <a:off x="13553144" y="6463025"/>
              <a:ext cx="4981575" cy="4914265"/>
            </a:xfrm>
            <a:custGeom>
              <a:avLst/>
              <a:gdLst/>
              <a:ahLst/>
              <a:cxnLst/>
              <a:rect l="l" t="t" r="r" b="b"/>
              <a:pathLst>
                <a:path w="4981575" h="4914265">
                  <a:moveTo>
                    <a:pt x="4981387" y="2423413"/>
                  </a:moveTo>
                  <a:lnTo>
                    <a:pt x="4981387" y="0"/>
                  </a:lnTo>
                  <a:lnTo>
                    <a:pt x="4355448" y="0"/>
                  </a:lnTo>
                  <a:lnTo>
                    <a:pt x="4355448" y="2423413"/>
                  </a:lnTo>
                  <a:lnTo>
                    <a:pt x="4355448" y="2424994"/>
                  </a:lnTo>
                  <a:lnTo>
                    <a:pt x="4355186" y="2426512"/>
                  </a:lnTo>
                  <a:lnTo>
                    <a:pt x="4355176" y="2428093"/>
                  </a:lnTo>
                  <a:lnTo>
                    <a:pt x="4355176" y="2428271"/>
                  </a:lnTo>
                  <a:lnTo>
                    <a:pt x="4355207" y="2428449"/>
                  </a:lnTo>
                  <a:lnTo>
                    <a:pt x="4355207" y="2428638"/>
                  </a:lnTo>
                  <a:lnTo>
                    <a:pt x="4354412" y="2480420"/>
                  </a:lnTo>
                  <a:lnTo>
                    <a:pt x="4352116" y="2531820"/>
                  </a:lnTo>
                  <a:lnTo>
                    <a:pt x="4348449" y="2582855"/>
                  </a:lnTo>
                  <a:lnTo>
                    <a:pt x="4343543" y="2633542"/>
                  </a:lnTo>
                  <a:lnTo>
                    <a:pt x="4342171" y="2641647"/>
                  </a:lnTo>
                  <a:lnTo>
                    <a:pt x="4341679" y="2645772"/>
                  </a:lnTo>
                  <a:lnTo>
                    <a:pt x="4335514" y="2693859"/>
                  </a:lnTo>
                  <a:lnTo>
                    <a:pt x="4328148" y="2741558"/>
                  </a:lnTo>
                  <a:lnTo>
                    <a:pt x="4319598" y="2788854"/>
                  </a:lnTo>
                  <a:lnTo>
                    <a:pt x="4309877" y="2835731"/>
                  </a:lnTo>
                  <a:lnTo>
                    <a:pt x="4299003" y="2882172"/>
                  </a:lnTo>
                  <a:lnTo>
                    <a:pt x="4286991" y="2928163"/>
                  </a:lnTo>
                  <a:lnTo>
                    <a:pt x="4273857" y="2973686"/>
                  </a:lnTo>
                  <a:lnTo>
                    <a:pt x="4259616" y="3018726"/>
                  </a:lnTo>
                  <a:lnTo>
                    <a:pt x="4244285" y="3063268"/>
                  </a:lnTo>
                  <a:lnTo>
                    <a:pt x="4227879" y="3107295"/>
                  </a:lnTo>
                  <a:lnTo>
                    <a:pt x="4210413" y="3150792"/>
                  </a:lnTo>
                  <a:lnTo>
                    <a:pt x="4191904" y="3193742"/>
                  </a:lnTo>
                  <a:lnTo>
                    <a:pt x="4172368" y="3236130"/>
                  </a:lnTo>
                  <a:lnTo>
                    <a:pt x="4151819" y="3277940"/>
                  </a:lnTo>
                  <a:lnTo>
                    <a:pt x="4130274" y="3319156"/>
                  </a:lnTo>
                  <a:lnTo>
                    <a:pt x="4107749" y="3359761"/>
                  </a:lnTo>
                  <a:lnTo>
                    <a:pt x="4084260" y="3399742"/>
                  </a:lnTo>
                  <a:lnTo>
                    <a:pt x="4059821" y="3439080"/>
                  </a:lnTo>
                  <a:lnTo>
                    <a:pt x="4034449" y="3477761"/>
                  </a:lnTo>
                  <a:lnTo>
                    <a:pt x="4008160" y="3515768"/>
                  </a:lnTo>
                  <a:lnTo>
                    <a:pt x="3980969" y="3553086"/>
                  </a:lnTo>
                  <a:lnTo>
                    <a:pt x="3952893" y="3589698"/>
                  </a:lnTo>
                  <a:lnTo>
                    <a:pt x="3923946" y="3625590"/>
                  </a:lnTo>
                  <a:lnTo>
                    <a:pt x="3894144" y="3660744"/>
                  </a:lnTo>
                  <a:lnTo>
                    <a:pt x="3863505" y="3695146"/>
                  </a:lnTo>
                  <a:lnTo>
                    <a:pt x="3832042" y="3728779"/>
                  </a:lnTo>
                  <a:lnTo>
                    <a:pt x="3799772" y="3761627"/>
                  </a:lnTo>
                  <a:lnTo>
                    <a:pt x="3766711" y="3793674"/>
                  </a:lnTo>
                  <a:lnTo>
                    <a:pt x="3732874" y="3824905"/>
                  </a:lnTo>
                  <a:lnTo>
                    <a:pt x="3698277" y="3855304"/>
                  </a:lnTo>
                  <a:lnTo>
                    <a:pt x="3662937" y="3884855"/>
                  </a:lnTo>
                  <a:lnTo>
                    <a:pt x="3626868" y="3913541"/>
                  </a:lnTo>
                  <a:lnTo>
                    <a:pt x="3590086" y="3941347"/>
                  </a:lnTo>
                  <a:lnTo>
                    <a:pt x="3552607" y="3968258"/>
                  </a:lnTo>
                  <a:lnTo>
                    <a:pt x="3514448" y="3994257"/>
                  </a:lnTo>
                  <a:lnTo>
                    <a:pt x="3475623" y="4019328"/>
                  </a:lnTo>
                  <a:lnTo>
                    <a:pt x="3436148" y="4043456"/>
                  </a:lnTo>
                  <a:lnTo>
                    <a:pt x="3396040" y="4066624"/>
                  </a:lnTo>
                  <a:lnTo>
                    <a:pt x="3355314" y="4088817"/>
                  </a:lnTo>
                  <a:lnTo>
                    <a:pt x="3313985" y="4110019"/>
                  </a:lnTo>
                  <a:lnTo>
                    <a:pt x="3272070" y="4130213"/>
                  </a:lnTo>
                  <a:lnTo>
                    <a:pt x="3229584" y="4149385"/>
                  </a:lnTo>
                  <a:lnTo>
                    <a:pt x="3186543" y="4167518"/>
                  </a:lnTo>
                  <a:lnTo>
                    <a:pt x="3142962" y="4184596"/>
                  </a:lnTo>
                  <a:lnTo>
                    <a:pt x="3098858" y="4200603"/>
                  </a:lnTo>
                  <a:lnTo>
                    <a:pt x="3054247" y="4215524"/>
                  </a:lnTo>
                  <a:lnTo>
                    <a:pt x="3009143" y="4229343"/>
                  </a:lnTo>
                  <a:lnTo>
                    <a:pt x="2963563" y="4242043"/>
                  </a:lnTo>
                  <a:lnTo>
                    <a:pt x="2917522" y="4253609"/>
                  </a:lnTo>
                  <a:lnTo>
                    <a:pt x="2871037" y="4264025"/>
                  </a:lnTo>
                  <a:lnTo>
                    <a:pt x="2824123" y="4273276"/>
                  </a:lnTo>
                  <a:lnTo>
                    <a:pt x="2776795" y="4281344"/>
                  </a:lnTo>
                  <a:lnTo>
                    <a:pt x="2729070" y="4288215"/>
                  </a:lnTo>
                  <a:lnTo>
                    <a:pt x="2680963" y="4293872"/>
                  </a:lnTo>
                  <a:lnTo>
                    <a:pt x="2632491" y="4298299"/>
                  </a:lnTo>
                  <a:lnTo>
                    <a:pt x="2583668" y="4301482"/>
                  </a:lnTo>
                  <a:lnTo>
                    <a:pt x="2534510" y="4303403"/>
                  </a:lnTo>
                  <a:lnTo>
                    <a:pt x="2485034" y="4304046"/>
                  </a:lnTo>
                  <a:lnTo>
                    <a:pt x="2436764" y="4303434"/>
                  </a:lnTo>
                  <a:lnTo>
                    <a:pt x="2388796" y="4301606"/>
                  </a:lnTo>
                  <a:lnTo>
                    <a:pt x="2341143" y="4298578"/>
                  </a:lnTo>
                  <a:lnTo>
                    <a:pt x="2293821" y="4294364"/>
                  </a:lnTo>
                  <a:lnTo>
                    <a:pt x="2246844" y="4288979"/>
                  </a:lnTo>
                  <a:lnTo>
                    <a:pt x="2200227" y="4282438"/>
                  </a:lnTo>
                  <a:lnTo>
                    <a:pt x="2153985" y="4274755"/>
                  </a:lnTo>
                  <a:lnTo>
                    <a:pt x="2108132" y="4265945"/>
                  </a:lnTo>
                  <a:lnTo>
                    <a:pt x="2062683" y="4256023"/>
                  </a:lnTo>
                  <a:lnTo>
                    <a:pt x="2017652" y="4245004"/>
                  </a:lnTo>
                  <a:lnTo>
                    <a:pt x="1973055" y="4232902"/>
                  </a:lnTo>
                  <a:lnTo>
                    <a:pt x="1928906" y="4219732"/>
                  </a:lnTo>
                  <a:lnTo>
                    <a:pt x="1885220" y="4205509"/>
                  </a:lnTo>
                  <a:lnTo>
                    <a:pt x="1842011" y="4190247"/>
                  </a:lnTo>
                  <a:lnTo>
                    <a:pt x="1799294" y="4173962"/>
                  </a:lnTo>
                  <a:lnTo>
                    <a:pt x="1757084" y="4156667"/>
                  </a:lnTo>
                  <a:lnTo>
                    <a:pt x="1715395" y="4138379"/>
                  </a:lnTo>
                  <a:lnTo>
                    <a:pt x="1674242" y="4119111"/>
                  </a:lnTo>
                  <a:lnTo>
                    <a:pt x="1633641" y="4098878"/>
                  </a:lnTo>
                  <a:lnTo>
                    <a:pt x="1593605" y="4077695"/>
                  </a:lnTo>
                  <a:lnTo>
                    <a:pt x="1554149" y="4055576"/>
                  </a:lnTo>
                  <a:lnTo>
                    <a:pt x="1515288" y="4032537"/>
                  </a:lnTo>
                  <a:lnTo>
                    <a:pt x="1477037" y="4008592"/>
                  </a:lnTo>
                  <a:lnTo>
                    <a:pt x="1439410" y="3983756"/>
                  </a:lnTo>
                  <a:lnTo>
                    <a:pt x="1402422" y="3958043"/>
                  </a:lnTo>
                  <a:lnTo>
                    <a:pt x="1366087" y="3931469"/>
                  </a:lnTo>
                  <a:lnTo>
                    <a:pt x="1330421" y="3904048"/>
                  </a:lnTo>
                  <a:lnTo>
                    <a:pt x="1295438" y="3875794"/>
                  </a:lnTo>
                  <a:lnTo>
                    <a:pt x="1261153" y="3846723"/>
                  </a:lnTo>
                  <a:lnTo>
                    <a:pt x="1227580" y="3816849"/>
                  </a:lnTo>
                  <a:lnTo>
                    <a:pt x="1194734" y="3786187"/>
                  </a:lnTo>
                  <a:lnTo>
                    <a:pt x="1162630" y="3754752"/>
                  </a:lnTo>
                  <a:lnTo>
                    <a:pt x="1131283" y="3722558"/>
                  </a:lnTo>
                  <a:lnTo>
                    <a:pt x="1100707" y="3689620"/>
                  </a:lnTo>
                  <a:lnTo>
                    <a:pt x="1070916" y="3655953"/>
                  </a:lnTo>
                  <a:lnTo>
                    <a:pt x="1041926" y="3621572"/>
                  </a:lnTo>
                  <a:lnTo>
                    <a:pt x="1013752" y="3586490"/>
                  </a:lnTo>
                  <a:lnTo>
                    <a:pt x="986407" y="3550724"/>
                  </a:lnTo>
                  <a:lnTo>
                    <a:pt x="959907" y="3514288"/>
                  </a:lnTo>
                  <a:lnTo>
                    <a:pt x="934266" y="3477196"/>
                  </a:lnTo>
                  <a:lnTo>
                    <a:pt x="909500" y="3439464"/>
                  </a:lnTo>
                  <a:lnTo>
                    <a:pt x="885621" y="3401105"/>
                  </a:lnTo>
                  <a:lnTo>
                    <a:pt x="862647" y="3362135"/>
                  </a:lnTo>
                  <a:lnTo>
                    <a:pt x="840590" y="3322569"/>
                  </a:lnTo>
                  <a:lnTo>
                    <a:pt x="819466" y="3282420"/>
                  </a:lnTo>
                  <a:lnTo>
                    <a:pt x="799290" y="3241705"/>
                  </a:lnTo>
                  <a:lnTo>
                    <a:pt x="780076" y="3200437"/>
                  </a:lnTo>
                  <a:lnTo>
                    <a:pt x="761838" y="3158631"/>
                  </a:lnTo>
                  <a:lnTo>
                    <a:pt x="744592" y="3116303"/>
                  </a:lnTo>
                  <a:lnTo>
                    <a:pt x="728352" y="3073466"/>
                  </a:lnTo>
                  <a:lnTo>
                    <a:pt x="713133" y="3030136"/>
                  </a:lnTo>
                  <a:lnTo>
                    <a:pt x="698950" y="2986327"/>
                  </a:lnTo>
                  <a:lnTo>
                    <a:pt x="685817" y="2942054"/>
                  </a:lnTo>
                  <a:lnTo>
                    <a:pt x="673749" y="2897331"/>
                  </a:lnTo>
                  <a:lnTo>
                    <a:pt x="662760" y="2852174"/>
                  </a:lnTo>
                  <a:lnTo>
                    <a:pt x="652866" y="2806598"/>
                  </a:lnTo>
                  <a:lnTo>
                    <a:pt x="644081" y="2760616"/>
                  </a:lnTo>
                  <a:lnTo>
                    <a:pt x="636419" y="2714244"/>
                  </a:lnTo>
                  <a:lnTo>
                    <a:pt x="629896" y="2667496"/>
                  </a:lnTo>
                  <a:lnTo>
                    <a:pt x="624526" y="2620387"/>
                  </a:lnTo>
                  <a:lnTo>
                    <a:pt x="620324" y="2572932"/>
                  </a:lnTo>
                  <a:lnTo>
                    <a:pt x="617304" y="2525146"/>
                  </a:lnTo>
                  <a:lnTo>
                    <a:pt x="615482" y="2477043"/>
                  </a:lnTo>
                  <a:lnTo>
                    <a:pt x="614871" y="2428638"/>
                  </a:lnTo>
                  <a:lnTo>
                    <a:pt x="615459" y="2398995"/>
                  </a:lnTo>
                  <a:lnTo>
                    <a:pt x="616934" y="2369580"/>
                  </a:lnTo>
                  <a:lnTo>
                    <a:pt x="618864" y="2340282"/>
                  </a:lnTo>
                  <a:lnTo>
                    <a:pt x="620818" y="2310987"/>
                  </a:lnTo>
                  <a:lnTo>
                    <a:pt x="0" y="2310987"/>
                  </a:lnTo>
                  <a:lnTo>
                    <a:pt x="0" y="2423413"/>
                  </a:lnTo>
                  <a:lnTo>
                    <a:pt x="462" y="2471774"/>
                  </a:lnTo>
                  <a:lnTo>
                    <a:pt x="1844" y="2519914"/>
                  </a:lnTo>
                  <a:lnTo>
                    <a:pt x="4137" y="2567825"/>
                  </a:lnTo>
                  <a:lnTo>
                    <a:pt x="7333" y="2615498"/>
                  </a:lnTo>
                  <a:lnTo>
                    <a:pt x="11422" y="2662925"/>
                  </a:lnTo>
                  <a:lnTo>
                    <a:pt x="16398" y="2710098"/>
                  </a:lnTo>
                  <a:lnTo>
                    <a:pt x="22251" y="2757007"/>
                  </a:lnTo>
                  <a:lnTo>
                    <a:pt x="28973" y="2803646"/>
                  </a:lnTo>
                  <a:lnTo>
                    <a:pt x="36555" y="2850004"/>
                  </a:lnTo>
                  <a:lnTo>
                    <a:pt x="44990" y="2896075"/>
                  </a:lnTo>
                  <a:lnTo>
                    <a:pt x="54268" y="2941848"/>
                  </a:lnTo>
                  <a:lnTo>
                    <a:pt x="64382" y="2987317"/>
                  </a:lnTo>
                  <a:lnTo>
                    <a:pt x="75322" y="3032472"/>
                  </a:lnTo>
                  <a:lnTo>
                    <a:pt x="87081" y="3077306"/>
                  </a:lnTo>
                  <a:lnTo>
                    <a:pt x="99650" y="3121809"/>
                  </a:lnTo>
                  <a:lnTo>
                    <a:pt x="113021" y="3165973"/>
                  </a:lnTo>
                  <a:lnTo>
                    <a:pt x="127185" y="3209790"/>
                  </a:lnTo>
                  <a:lnTo>
                    <a:pt x="142133" y="3253252"/>
                  </a:lnTo>
                  <a:lnTo>
                    <a:pt x="157858" y="3296350"/>
                  </a:lnTo>
                  <a:lnTo>
                    <a:pt x="174351" y="3339075"/>
                  </a:lnTo>
                  <a:lnTo>
                    <a:pt x="191604" y="3381420"/>
                  </a:lnTo>
                  <a:lnTo>
                    <a:pt x="209607" y="3423375"/>
                  </a:lnTo>
                  <a:lnTo>
                    <a:pt x="228354" y="3464933"/>
                  </a:lnTo>
                  <a:lnTo>
                    <a:pt x="247835" y="3506085"/>
                  </a:lnTo>
                  <a:lnTo>
                    <a:pt x="268041" y="3546822"/>
                  </a:lnTo>
                  <a:lnTo>
                    <a:pt x="288965" y="3587136"/>
                  </a:lnTo>
                  <a:lnTo>
                    <a:pt x="310599" y="3627019"/>
                  </a:lnTo>
                  <a:lnTo>
                    <a:pt x="332932" y="3666463"/>
                  </a:lnTo>
                  <a:lnTo>
                    <a:pt x="355959" y="3705458"/>
                  </a:lnTo>
                  <a:lnTo>
                    <a:pt x="379668" y="3743996"/>
                  </a:lnTo>
                  <a:lnTo>
                    <a:pt x="404054" y="3782070"/>
                  </a:lnTo>
                  <a:lnTo>
                    <a:pt x="429106" y="3819670"/>
                  </a:lnTo>
                  <a:lnTo>
                    <a:pt x="454817" y="3856789"/>
                  </a:lnTo>
                  <a:lnTo>
                    <a:pt x="481178" y="3893417"/>
                  </a:lnTo>
                  <a:lnTo>
                    <a:pt x="508181" y="3929546"/>
                  </a:lnTo>
                  <a:lnTo>
                    <a:pt x="535817" y="3965169"/>
                  </a:lnTo>
                  <a:lnTo>
                    <a:pt x="564078" y="4000275"/>
                  </a:lnTo>
                  <a:lnTo>
                    <a:pt x="592956" y="4034858"/>
                  </a:lnTo>
                  <a:lnTo>
                    <a:pt x="622441" y="4068909"/>
                  </a:lnTo>
                  <a:lnTo>
                    <a:pt x="652527" y="4102419"/>
                  </a:lnTo>
                  <a:lnTo>
                    <a:pt x="683203" y="4135380"/>
                  </a:lnTo>
                  <a:lnTo>
                    <a:pt x="714463" y="4167783"/>
                  </a:lnTo>
                  <a:lnTo>
                    <a:pt x="746297" y="4199620"/>
                  </a:lnTo>
                  <a:lnTo>
                    <a:pt x="778697" y="4230883"/>
                  </a:lnTo>
                  <a:lnTo>
                    <a:pt x="811654" y="4261562"/>
                  </a:lnTo>
                  <a:lnTo>
                    <a:pt x="845161" y="4291651"/>
                  </a:lnTo>
                  <a:lnTo>
                    <a:pt x="879208" y="4321140"/>
                  </a:lnTo>
                  <a:lnTo>
                    <a:pt x="913788" y="4350021"/>
                  </a:lnTo>
                  <a:lnTo>
                    <a:pt x="948892" y="4378285"/>
                  </a:lnTo>
                  <a:lnTo>
                    <a:pt x="984511" y="4405924"/>
                  </a:lnTo>
                  <a:lnTo>
                    <a:pt x="1020637" y="4432930"/>
                  </a:lnTo>
                  <a:lnTo>
                    <a:pt x="1057262" y="4459294"/>
                  </a:lnTo>
                  <a:lnTo>
                    <a:pt x="1094378" y="4485008"/>
                  </a:lnTo>
                  <a:lnTo>
                    <a:pt x="1131975" y="4510064"/>
                  </a:lnTo>
                  <a:lnTo>
                    <a:pt x="1170046" y="4534452"/>
                  </a:lnTo>
                  <a:lnTo>
                    <a:pt x="1208582" y="4558165"/>
                  </a:lnTo>
                  <a:lnTo>
                    <a:pt x="1247574" y="4581194"/>
                  </a:lnTo>
                  <a:lnTo>
                    <a:pt x="1287014" y="4603531"/>
                  </a:lnTo>
                  <a:lnTo>
                    <a:pt x="1326895" y="4625167"/>
                  </a:lnTo>
                  <a:lnTo>
                    <a:pt x="1367206" y="4646094"/>
                  </a:lnTo>
                  <a:lnTo>
                    <a:pt x="1407941" y="4666303"/>
                  </a:lnTo>
                  <a:lnTo>
                    <a:pt x="1449090" y="4685786"/>
                  </a:lnTo>
                  <a:lnTo>
                    <a:pt x="1490646" y="4704535"/>
                  </a:lnTo>
                  <a:lnTo>
                    <a:pt x="1532599" y="4722542"/>
                  </a:lnTo>
                  <a:lnTo>
                    <a:pt x="1574941" y="4739797"/>
                  </a:lnTo>
                  <a:lnTo>
                    <a:pt x="1617664" y="4756292"/>
                  </a:lnTo>
                  <a:lnTo>
                    <a:pt x="1660760" y="4772019"/>
                  </a:lnTo>
                  <a:lnTo>
                    <a:pt x="1704220" y="4786970"/>
                  </a:lnTo>
                  <a:lnTo>
                    <a:pt x="1748035" y="4801136"/>
                  </a:lnTo>
                  <a:lnTo>
                    <a:pt x="1792198" y="4814508"/>
                  </a:lnTo>
                  <a:lnTo>
                    <a:pt x="1836700" y="4827079"/>
                  </a:lnTo>
                  <a:lnTo>
                    <a:pt x="1881532" y="4838840"/>
                  </a:lnTo>
                  <a:lnTo>
                    <a:pt x="1926685" y="4849782"/>
                  </a:lnTo>
                  <a:lnTo>
                    <a:pt x="1972153" y="4859897"/>
                  </a:lnTo>
                  <a:lnTo>
                    <a:pt x="2017925" y="4869177"/>
                  </a:lnTo>
                  <a:lnTo>
                    <a:pt x="2063995" y="4877613"/>
                  </a:lnTo>
                  <a:lnTo>
                    <a:pt x="2110352" y="4885196"/>
                  </a:lnTo>
                  <a:lnTo>
                    <a:pt x="2156990" y="4891919"/>
                  </a:lnTo>
                  <a:lnTo>
                    <a:pt x="2203899" y="4897773"/>
                  </a:lnTo>
                  <a:lnTo>
                    <a:pt x="2251071" y="4902750"/>
                  </a:lnTo>
                  <a:lnTo>
                    <a:pt x="2298498" y="4906840"/>
                  </a:lnTo>
                  <a:lnTo>
                    <a:pt x="2346171" y="4910036"/>
                  </a:lnTo>
                  <a:lnTo>
                    <a:pt x="2394082" y="4912330"/>
                  </a:lnTo>
                  <a:lnTo>
                    <a:pt x="2442222" y="4913712"/>
                  </a:lnTo>
                  <a:lnTo>
                    <a:pt x="2490583" y="4914174"/>
                  </a:lnTo>
                  <a:lnTo>
                    <a:pt x="2538952" y="4913712"/>
                  </a:lnTo>
                  <a:lnTo>
                    <a:pt x="2587100" y="4912330"/>
                  </a:lnTo>
                  <a:lnTo>
                    <a:pt x="2635018" y="4910036"/>
                  </a:lnTo>
                  <a:lnTo>
                    <a:pt x="2682698" y="4906840"/>
                  </a:lnTo>
                  <a:lnTo>
                    <a:pt x="2730132" y="4902750"/>
                  </a:lnTo>
                  <a:lnTo>
                    <a:pt x="2777311" y="4897773"/>
                  </a:lnTo>
                  <a:lnTo>
                    <a:pt x="2824227" y="4891919"/>
                  </a:lnTo>
                  <a:lnTo>
                    <a:pt x="2870871" y="4885196"/>
                  </a:lnTo>
                  <a:lnTo>
                    <a:pt x="2917235" y="4877613"/>
                  </a:lnTo>
                  <a:lnTo>
                    <a:pt x="2963310" y="4869177"/>
                  </a:lnTo>
                  <a:lnTo>
                    <a:pt x="3009089" y="4859897"/>
                  </a:lnTo>
                  <a:lnTo>
                    <a:pt x="3054562" y="4849782"/>
                  </a:lnTo>
                  <a:lnTo>
                    <a:pt x="3099721" y="4838840"/>
                  </a:lnTo>
                  <a:lnTo>
                    <a:pt x="3144559" y="4827079"/>
                  </a:lnTo>
                  <a:lnTo>
                    <a:pt x="3189066" y="4814508"/>
                  </a:lnTo>
                  <a:lnTo>
                    <a:pt x="3233233" y="4801136"/>
                  </a:lnTo>
                  <a:lnTo>
                    <a:pt x="3277054" y="4786970"/>
                  </a:lnTo>
                  <a:lnTo>
                    <a:pt x="3320519" y="4772019"/>
                  </a:lnTo>
                  <a:lnTo>
                    <a:pt x="3363619" y="4756292"/>
                  </a:lnTo>
                  <a:lnTo>
                    <a:pt x="3406347" y="4739797"/>
                  </a:lnTo>
                  <a:lnTo>
                    <a:pt x="3448694" y="4722542"/>
                  </a:lnTo>
                  <a:lnTo>
                    <a:pt x="3490651" y="4704535"/>
                  </a:lnTo>
                  <a:lnTo>
                    <a:pt x="3532211" y="4685786"/>
                  </a:lnTo>
                  <a:lnTo>
                    <a:pt x="3573364" y="4666303"/>
                  </a:lnTo>
                  <a:lnTo>
                    <a:pt x="3614103" y="4646094"/>
                  </a:lnTo>
                  <a:lnTo>
                    <a:pt x="3654418" y="4625167"/>
                  </a:lnTo>
                  <a:lnTo>
                    <a:pt x="3694302" y="4603531"/>
                  </a:lnTo>
                  <a:lnTo>
                    <a:pt x="3733746" y="4581194"/>
                  </a:lnTo>
                  <a:lnTo>
                    <a:pt x="3772742" y="4558165"/>
                  </a:lnTo>
                  <a:lnTo>
                    <a:pt x="3811281" y="4534452"/>
                  </a:lnTo>
                  <a:lnTo>
                    <a:pt x="3849355" y="4510064"/>
                  </a:lnTo>
                  <a:lnTo>
                    <a:pt x="3886955" y="4485008"/>
                  </a:lnTo>
                  <a:lnTo>
                    <a:pt x="3924074" y="4459294"/>
                  </a:lnTo>
                  <a:lnTo>
                    <a:pt x="3960702" y="4432930"/>
                  </a:lnTo>
                  <a:lnTo>
                    <a:pt x="3996831" y="4405924"/>
                  </a:lnTo>
                  <a:lnTo>
                    <a:pt x="4032453" y="4378285"/>
                  </a:lnTo>
                  <a:lnTo>
                    <a:pt x="4067559" y="4350021"/>
                  </a:lnTo>
                  <a:lnTo>
                    <a:pt x="4102141" y="4321140"/>
                  </a:lnTo>
                  <a:lnTo>
                    <a:pt x="4136191" y="4291651"/>
                  </a:lnTo>
                  <a:lnTo>
                    <a:pt x="4169700" y="4261562"/>
                  </a:lnTo>
                  <a:lnTo>
                    <a:pt x="4202660" y="4230883"/>
                  </a:lnTo>
                  <a:lnTo>
                    <a:pt x="4235061" y="4199620"/>
                  </a:lnTo>
                  <a:lnTo>
                    <a:pt x="4266897" y="4167783"/>
                  </a:lnTo>
                  <a:lnTo>
                    <a:pt x="4298159" y="4135380"/>
                  </a:lnTo>
                  <a:lnTo>
                    <a:pt x="4328837" y="4102419"/>
                  </a:lnTo>
                  <a:lnTo>
                    <a:pt x="4358924" y="4068909"/>
                  </a:lnTo>
                  <a:lnTo>
                    <a:pt x="4388411" y="4034858"/>
                  </a:lnTo>
                  <a:lnTo>
                    <a:pt x="4417290" y="4000275"/>
                  </a:lnTo>
                  <a:lnTo>
                    <a:pt x="4445553" y="3965169"/>
                  </a:lnTo>
                  <a:lnTo>
                    <a:pt x="4473190" y="3929546"/>
                  </a:lnTo>
                  <a:lnTo>
                    <a:pt x="4500194" y="3893417"/>
                  </a:lnTo>
                  <a:lnTo>
                    <a:pt x="4526557" y="3856789"/>
                  </a:lnTo>
                  <a:lnTo>
                    <a:pt x="4552269" y="3819670"/>
                  </a:lnTo>
                  <a:lnTo>
                    <a:pt x="4577322" y="3782070"/>
                  </a:lnTo>
                  <a:lnTo>
                    <a:pt x="4601708" y="3743996"/>
                  </a:lnTo>
                  <a:lnTo>
                    <a:pt x="4625419" y="3705458"/>
                  </a:lnTo>
                  <a:lnTo>
                    <a:pt x="4648446" y="3666463"/>
                  </a:lnTo>
                  <a:lnTo>
                    <a:pt x="4670781" y="3627019"/>
                  </a:lnTo>
                  <a:lnTo>
                    <a:pt x="4692415" y="3587136"/>
                  </a:lnTo>
                  <a:lnTo>
                    <a:pt x="4713340" y="3546822"/>
                  </a:lnTo>
                  <a:lnTo>
                    <a:pt x="4733547" y="3506085"/>
                  </a:lnTo>
                  <a:lnTo>
                    <a:pt x="4753028" y="3464933"/>
                  </a:lnTo>
                  <a:lnTo>
                    <a:pt x="4771775" y="3423375"/>
                  </a:lnTo>
                  <a:lnTo>
                    <a:pt x="4789780" y="3381420"/>
                  </a:lnTo>
                  <a:lnTo>
                    <a:pt x="4807033" y="3339075"/>
                  </a:lnTo>
                  <a:lnTo>
                    <a:pt x="4823526" y="3296350"/>
                  </a:lnTo>
                  <a:lnTo>
                    <a:pt x="4839251" y="3253252"/>
                  </a:lnTo>
                  <a:lnTo>
                    <a:pt x="4854200" y="3209790"/>
                  </a:lnTo>
                  <a:lnTo>
                    <a:pt x="4868364" y="3165973"/>
                  </a:lnTo>
                  <a:lnTo>
                    <a:pt x="4881735" y="3121809"/>
                  </a:lnTo>
                  <a:lnTo>
                    <a:pt x="4894304" y="3077306"/>
                  </a:lnTo>
                  <a:lnTo>
                    <a:pt x="4906064" y="3032472"/>
                  </a:lnTo>
                  <a:lnTo>
                    <a:pt x="4917004" y="2987317"/>
                  </a:lnTo>
                  <a:lnTo>
                    <a:pt x="4927118" y="2941848"/>
                  </a:lnTo>
                  <a:lnTo>
                    <a:pt x="4936396" y="2896075"/>
                  </a:lnTo>
                  <a:lnTo>
                    <a:pt x="4944831" y="2850004"/>
                  </a:lnTo>
                  <a:lnTo>
                    <a:pt x="4952414" y="2803646"/>
                  </a:lnTo>
                  <a:lnTo>
                    <a:pt x="4959135" y="2757007"/>
                  </a:lnTo>
                  <a:lnTo>
                    <a:pt x="4964989" y="2710098"/>
                  </a:lnTo>
                  <a:lnTo>
                    <a:pt x="4969964" y="2662925"/>
                  </a:lnTo>
                  <a:lnTo>
                    <a:pt x="4974054" y="2615498"/>
                  </a:lnTo>
                  <a:lnTo>
                    <a:pt x="4977250" y="2567825"/>
                  </a:lnTo>
                  <a:lnTo>
                    <a:pt x="4979543" y="2519914"/>
                  </a:lnTo>
                  <a:lnTo>
                    <a:pt x="4980925" y="2471774"/>
                  </a:lnTo>
                  <a:lnTo>
                    <a:pt x="4981387" y="2423413"/>
                  </a:lnTo>
                  <a:close/>
                </a:path>
              </a:pathLst>
            </a:custGeom>
            <a:ln w="4687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b="1"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71FB8F7F-8F24-54DB-452B-C8AD145A9953}"/>
                </a:ext>
              </a:extLst>
            </p:cNvPr>
            <p:cNvSpPr/>
            <p:nvPr/>
          </p:nvSpPr>
          <p:spPr>
            <a:xfrm>
              <a:off x="1468416" y="23438"/>
              <a:ext cx="630555" cy="3968750"/>
            </a:xfrm>
            <a:custGeom>
              <a:avLst/>
              <a:gdLst/>
              <a:ahLst/>
              <a:cxnLst/>
              <a:rect l="l" t="t" r="r" b="b"/>
              <a:pathLst>
                <a:path w="630555" h="3968750">
                  <a:moveTo>
                    <a:pt x="630242" y="3634884"/>
                  </a:moveTo>
                  <a:lnTo>
                    <a:pt x="630242" y="3624989"/>
                  </a:lnTo>
                  <a:lnTo>
                    <a:pt x="630106" y="3625104"/>
                  </a:lnTo>
                  <a:lnTo>
                    <a:pt x="629855" y="3625334"/>
                  </a:lnTo>
                  <a:lnTo>
                    <a:pt x="629855" y="0"/>
                  </a:lnTo>
                  <a:lnTo>
                    <a:pt x="2565" y="0"/>
                  </a:lnTo>
                  <a:lnTo>
                    <a:pt x="0" y="2250601"/>
                  </a:lnTo>
                  <a:lnTo>
                    <a:pt x="0" y="3968633"/>
                  </a:lnTo>
                  <a:lnTo>
                    <a:pt x="49735" y="3952837"/>
                  </a:lnTo>
                  <a:lnTo>
                    <a:pt x="98845" y="3935736"/>
                  </a:lnTo>
                  <a:lnTo>
                    <a:pt x="147304" y="3917346"/>
                  </a:lnTo>
                  <a:lnTo>
                    <a:pt x="195086" y="3897684"/>
                  </a:lnTo>
                  <a:lnTo>
                    <a:pt x="242168" y="3876768"/>
                  </a:lnTo>
                  <a:lnTo>
                    <a:pt x="288524" y="3854613"/>
                  </a:lnTo>
                  <a:lnTo>
                    <a:pt x="334129" y="3831239"/>
                  </a:lnTo>
                  <a:lnTo>
                    <a:pt x="378959" y="3806661"/>
                  </a:lnTo>
                  <a:lnTo>
                    <a:pt x="422987" y="3780897"/>
                  </a:lnTo>
                  <a:lnTo>
                    <a:pt x="466190" y="3753964"/>
                  </a:lnTo>
                  <a:lnTo>
                    <a:pt x="508541" y="3725879"/>
                  </a:lnTo>
                  <a:lnTo>
                    <a:pt x="550017" y="3696659"/>
                  </a:lnTo>
                  <a:lnTo>
                    <a:pt x="590593" y="3666322"/>
                  </a:lnTo>
                  <a:lnTo>
                    <a:pt x="630242" y="3634884"/>
                  </a:lnTo>
                  <a:close/>
                </a:path>
              </a:pathLst>
            </a:custGeom>
            <a:ln w="4687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b="1"/>
            </a:p>
          </p:txBody>
        </p:sp>
        <p:sp>
          <p:nvSpPr>
            <p:cNvPr id="14" name="object 7">
              <a:extLst>
                <a:ext uri="{FF2B5EF4-FFF2-40B4-BE49-F238E27FC236}">
                  <a16:creationId xmlns:a16="http://schemas.microsoft.com/office/drawing/2014/main" id="{C7CFBC9F-1ABA-8F6D-8F60-3633E6AAC54C}"/>
                </a:ext>
              </a:extLst>
            </p:cNvPr>
            <p:cNvSpPr/>
            <p:nvPr/>
          </p:nvSpPr>
          <p:spPr>
            <a:xfrm>
              <a:off x="15673836" y="1201408"/>
              <a:ext cx="4406900" cy="677545"/>
            </a:xfrm>
            <a:custGeom>
              <a:avLst/>
              <a:gdLst/>
              <a:ahLst/>
              <a:cxnLst/>
              <a:rect l="l" t="t" r="r" b="b"/>
              <a:pathLst>
                <a:path w="4406900" h="677544">
                  <a:moveTo>
                    <a:pt x="4406829" y="0"/>
                  </a:moveTo>
                  <a:lnTo>
                    <a:pt x="0" y="0"/>
                  </a:lnTo>
                  <a:lnTo>
                    <a:pt x="0" y="677036"/>
                  </a:lnTo>
                  <a:lnTo>
                    <a:pt x="4406829" y="677036"/>
                  </a:lnTo>
                  <a:lnTo>
                    <a:pt x="4406829" y="0"/>
                  </a:lnTo>
                  <a:close/>
                </a:path>
              </a:pathLst>
            </a:custGeom>
            <a:ln w="4687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b="1"/>
            </a:p>
          </p:txBody>
        </p:sp>
      </p:grp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12850" y="4276804"/>
            <a:ext cx="1708848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212850" y="6191187"/>
            <a:ext cx="17088486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endParaRPr dirty="0"/>
          </a:p>
        </p:txBody>
      </p:sp>
      <p:sp>
        <p:nvSpPr>
          <p:cNvPr id="15" name="Holder 6">
            <a:extLst>
              <a:ext uri="{FF2B5EF4-FFF2-40B4-BE49-F238E27FC236}">
                <a16:creationId xmlns:a16="http://schemas.microsoft.com/office/drawing/2014/main" id="{18F9C758-0FF1-C3F8-43ED-495A6BEBF6B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7888974" y="11937469"/>
            <a:ext cx="1047254" cy="223138"/>
          </a:xfrm>
          <a:prstGeom prst="rect">
            <a:avLst/>
          </a:prstGeom>
        </p:spPr>
        <p:txBody>
          <a:bodyPr lIns="0" tIns="0" rIns="0" bIns="0"/>
          <a:lstStyle>
            <a:lvl1pPr>
              <a:defRPr sz="1450" b="0" i="0">
                <a:solidFill>
                  <a:srgbClr val="A78A4C"/>
                </a:solidFill>
                <a:latin typeface="HelveticaNeue-Light"/>
                <a:cs typeface="HelveticaNeue-Light"/>
              </a:defRPr>
            </a:lvl1pPr>
          </a:lstStyle>
          <a:p>
            <a:pPr marL="38100">
              <a:lnSpc>
                <a:spcPct val="100000"/>
              </a:lnSpc>
              <a:spcBef>
                <a:spcPts val="85"/>
              </a:spcBef>
            </a:pPr>
            <a:fld id="{81D60167-4931-47E6-BA6A-407CBD079E47}" type="slidenum">
              <a:rPr spc="15"/>
              <a:t>‹#›</a:t>
            </a:fld>
            <a:endParaRPr spc="15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45F02786-1F5B-06A5-E5DF-03A11B4CE370}"/>
              </a:ext>
            </a:extLst>
          </p:cNvPr>
          <p:cNvGrpSpPr/>
          <p:nvPr userDrawn="1"/>
        </p:nvGrpSpPr>
        <p:grpSpPr>
          <a:xfrm>
            <a:off x="908050" y="11226800"/>
            <a:ext cx="3970020" cy="721351"/>
            <a:chOff x="6775450" y="10693400"/>
            <a:chExt cx="3970020" cy="721351"/>
          </a:xfrm>
        </p:grpSpPr>
        <p:pic>
          <p:nvPicPr>
            <p:cNvPr id="17" name="Picture 2" descr="Europaflagge – Wikipedia">
              <a:extLst>
                <a:ext uri="{FF2B5EF4-FFF2-40B4-BE49-F238E27FC236}">
                  <a16:creationId xmlns:a16="http://schemas.microsoft.com/office/drawing/2014/main" id="{3175E16E-08B7-801E-4FCC-7B381DC5CF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75450" y="10728263"/>
              <a:ext cx="995349" cy="663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object 8">
              <a:extLst>
                <a:ext uri="{FF2B5EF4-FFF2-40B4-BE49-F238E27FC236}">
                  <a16:creationId xmlns:a16="http://schemas.microsoft.com/office/drawing/2014/main" id="{0A7E879D-A6A4-F58D-E033-569FF8369AFE}"/>
                </a:ext>
              </a:extLst>
            </p:cNvPr>
            <p:cNvSpPr txBox="1"/>
            <p:nvPr/>
          </p:nvSpPr>
          <p:spPr>
            <a:xfrm>
              <a:off x="7918450" y="10693400"/>
              <a:ext cx="2827020" cy="721351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</a:pPr>
              <a:r>
                <a:rPr lang="de-AT" sz="2300" b="1" dirty="0">
                  <a:solidFill>
                    <a:srgbClr val="FFFFFF"/>
                  </a:solidFill>
                  <a:latin typeface="OpenSans-Semibold"/>
                  <a:cs typeface="OpenSans-Semibold"/>
                </a:rPr>
                <a:t>Co-funded by the</a:t>
              </a:r>
              <a:br>
                <a:rPr lang="de-AT" sz="2300" b="1" dirty="0">
                  <a:solidFill>
                    <a:srgbClr val="FFFFFF"/>
                  </a:solidFill>
                  <a:latin typeface="OpenSans-Semibold"/>
                  <a:cs typeface="OpenSans-Semibold"/>
                </a:rPr>
              </a:br>
              <a:r>
                <a:rPr lang="de-AT" sz="2300" b="1" dirty="0">
                  <a:solidFill>
                    <a:srgbClr val="FFFFFF"/>
                  </a:solidFill>
                  <a:latin typeface="OpenSans-Semibold"/>
                  <a:cs typeface="OpenSans-Semibold"/>
                </a:rPr>
                <a:t>European Union</a:t>
              </a:r>
              <a:endParaRPr sz="2300">
                <a:latin typeface="OpenSans-Semibold"/>
                <a:cs typeface="OpenSans-Semibol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81930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F47D03-739D-D4DC-FFAA-BA72C962E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3050" y="5130800"/>
            <a:ext cx="13927338" cy="923330"/>
          </a:xfrm>
        </p:spPr>
        <p:txBody>
          <a:bodyPr/>
          <a:lstStyle>
            <a:lvl1pPr algn="ctr">
              <a:defRPr sz="60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F0C7E04-8B71-FEC6-1C1A-A3CC7CF6E3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JUSTICE WITHOUT LITIGATION II - ECONOMIC PART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A192B04-9983-C054-884B-977902B38BB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12th March 2025 | Rom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5D6F7-F4AB-1D2D-31D3-0558EEB8F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38100">
              <a:lnSpc>
                <a:spcPct val="100000"/>
              </a:lnSpc>
              <a:spcBef>
                <a:spcPts val="85"/>
              </a:spcBef>
            </a:pPr>
            <a:fld id="{81D60167-4931-47E6-BA6A-407CBD079E47}" type="slidenum">
              <a:rPr lang="de-DE" spc="15" smtClean="0"/>
              <a:t>‹#›</a:t>
            </a:fld>
            <a:endParaRPr lang="de-DE" spc="15" dirty="0"/>
          </a:p>
        </p:txBody>
      </p:sp>
      <p:grpSp>
        <p:nvGrpSpPr>
          <p:cNvPr id="8" name="object 3">
            <a:extLst>
              <a:ext uri="{FF2B5EF4-FFF2-40B4-BE49-F238E27FC236}">
                <a16:creationId xmlns:a16="http://schemas.microsoft.com/office/drawing/2014/main" id="{84474B9D-C28D-0E17-D696-6C405F9AB2E3}"/>
              </a:ext>
            </a:extLst>
          </p:cNvPr>
          <p:cNvGrpSpPr/>
          <p:nvPr userDrawn="1"/>
        </p:nvGrpSpPr>
        <p:grpSpPr>
          <a:xfrm>
            <a:off x="15868405" y="10526075"/>
            <a:ext cx="4251960" cy="2337435"/>
            <a:chOff x="15868405" y="10526075"/>
            <a:chExt cx="4251960" cy="2337435"/>
          </a:xfrm>
        </p:grpSpPr>
        <p:sp>
          <p:nvSpPr>
            <p:cNvPr id="9" name="object 4">
              <a:extLst>
                <a:ext uri="{FF2B5EF4-FFF2-40B4-BE49-F238E27FC236}">
                  <a16:creationId xmlns:a16="http://schemas.microsoft.com/office/drawing/2014/main" id="{EAF45564-89D1-8EAE-DDAB-019B2CE61586}"/>
                </a:ext>
              </a:extLst>
            </p:cNvPr>
            <p:cNvSpPr/>
            <p:nvPr/>
          </p:nvSpPr>
          <p:spPr>
            <a:xfrm>
              <a:off x="17231200" y="11172070"/>
              <a:ext cx="587375" cy="579755"/>
            </a:xfrm>
            <a:custGeom>
              <a:avLst/>
              <a:gdLst/>
              <a:ahLst/>
              <a:cxnLst/>
              <a:rect l="l" t="t" r="r" b="b"/>
              <a:pathLst>
                <a:path w="587375" h="579754">
                  <a:moveTo>
                    <a:pt x="587259" y="0"/>
                  </a:moveTo>
                  <a:lnTo>
                    <a:pt x="513460" y="0"/>
                  </a:lnTo>
                  <a:lnTo>
                    <a:pt x="513460" y="285687"/>
                  </a:lnTo>
                  <a:lnTo>
                    <a:pt x="507898" y="334898"/>
                  </a:lnTo>
                  <a:lnTo>
                    <a:pt x="492045" y="380220"/>
                  </a:lnTo>
                  <a:lnTo>
                    <a:pt x="467148" y="420422"/>
                  </a:lnTo>
                  <a:lnTo>
                    <a:pt x="434457" y="454279"/>
                  </a:lnTo>
                  <a:lnTo>
                    <a:pt x="434457" y="0"/>
                  </a:lnTo>
                  <a:lnTo>
                    <a:pt x="358407" y="0"/>
                  </a:lnTo>
                  <a:lnTo>
                    <a:pt x="358407" y="495754"/>
                  </a:lnTo>
                  <a:lnTo>
                    <a:pt x="342810" y="499947"/>
                  </a:lnTo>
                  <a:lnTo>
                    <a:pt x="326785" y="503005"/>
                  </a:lnTo>
                  <a:lnTo>
                    <a:pt x="310376" y="504877"/>
                  </a:lnTo>
                  <a:lnTo>
                    <a:pt x="293624" y="505513"/>
                  </a:lnTo>
                  <a:lnTo>
                    <a:pt x="249374" y="501039"/>
                  </a:lnTo>
                  <a:lnTo>
                    <a:pt x="208134" y="488212"/>
                  </a:lnTo>
                  <a:lnTo>
                    <a:pt x="170795" y="467921"/>
                  </a:lnTo>
                  <a:lnTo>
                    <a:pt x="138248" y="441058"/>
                  </a:lnTo>
                  <a:lnTo>
                    <a:pt x="111383" y="408513"/>
                  </a:lnTo>
                  <a:lnTo>
                    <a:pt x="91090" y="371175"/>
                  </a:lnTo>
                  <a:lnTo>
                    <a:pt x="78262" y="329937"/>
                  </a:lnTo>
                  <a:lnTo>
                    <a:pt x="73788" y="285687"/>
                  </a:lnTo>
                  <a:lnTo>
                    <a:pt x="73788" y="272431"/>
                  </a:lnTo>
                  <a:lnTo>
                    <a:pt x="0" y="272431"/>
                  </a:lnTo>
                  <a:lnTo>
                    <a:pt x="0" y="285687"/>
                  </a:lnTo>
                  <a:lnTo>
                    <a:pt x="3850" y="333251"/>
                  </a:lnTo>
                  <a:lnTo>
                    <a:pt x="14995" y="378394"/>
                  </a:lnTo>
                  <a:lnTo>
                    <a:pt x="32825" y="420508"/>
                  </a:lnTo>
                  <a:lnTo>
                    <a:pt x="56731" y="458984"/>
                  </a:lnTo>
                  <a:lnTo>
                    <a:pt x="86103" y="493212"/>
                  </a:lnTo>
                  <a:lnTo>
                    <a:pt x="120332" y="522583"/>
                  </a:lnTo>
                  <a:lnTo>
                    <a:pt x="158808" y="546488"/>
                  </a:lnTo>
                  <a:lnTo>
                    <a:pt x="200921" y="564317"/>
                  </a:lnTo>
                  <a:lnTo>
                    <a:pt x="246063" y="575462"/>
                  </a:lnTo>
                  <a:lnTo>
                    <a:pt x="293624" y="579312"/>
                  </a:lnTo>
                  <a:lnTo>
                    <a:pt x="341190" y="575462"/>
                  </a:lnTo>
                  <a:lnTo>
                    <a:pt x="386336" y="564317"/>
                  </a:lnTo>
                  <a:lnTo>
                    <a:pt x="428452" y="546488"/>
                  </a:lnTo>
                  <a:lnTo>
                    <a:pt x="466929" y="522583"/>
                  </a:lnTo>
                  <a:lnTo>
                    <a:pt x="501158" y="493212"/>
                  </a:lnTo>
                  <a:lnTo>
                    <a:pt x="530530" y="458984"/>
                  </a:lnTo>
                  <a:lnTo>
                    <a:pt x="554435" y="420508"/>
                  </a:lnTo>
                  <a:lnTo>
                    <a:pt x="572265" y="378394"/>
                  </a:lnTo>
                  <a:lnTo>
                    <a:pt x="583409" y="333251"/>
                  </a:lnTo>
                  <a:lnTo>
                    <a:pt x="587259" y="285687"/>
                  </a:lnTo>
                  <a:lnTo>
                    <a:pt x="587259" y="0"/>
                  </a:lnTo>
                  <a:close/>
                </a:path>
              </a:pathLst>
            </a:custGeom>
            <a:solidFill>
              <a:srgbClr val="A78A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0" name="object 5">
              <a:extLst>
                <a:ext uri="{FF2B5EF4-FFF2-40B4-BE49-F238E27FC236}">
                  <a16:creationId xmlns:a16="http://schemas.microsoft.com/office/drawing/2014/main" id="{C65F6AD7-A953-A1D9-6DDB-B530AA7BF61A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065730" y="11020372"/>
              <a:ext cx="91557" cy="243814"/>
            </a:xfrm>
            <a:prstGeom prst="rect">
              <a:avLst/>
            </a:prstGeom>
          </p:spPr>
        </p:pic>
        <p:pic>
          <p:nvPicPr>
            <p:cNvPr id="11" name="object 6">
              <a:extLst>
                <a:ext uri="{FF2B5EF4-FFF2-40B4-BE49-F238E27FC236}">
                  <a16:creationId xmlns:a16="http://schemas.microsoft.com/office/drawing/2014/main" id="{F1A1509A-329E-2697-7E86-171861B98728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8196175" y="11020373"/>
              <a:ext cx="157984" cy="188088"/>
            </a:xfrm>
            <a:prstGeom prst="rect">
              <a:avLst/>
            </a:prstGeom>
          </p:spPr>
        </p:pic>
        <p:pic>
          <p:nvPicPr>
            <p:cNvPr id="12" name="object 7">
              <a:extLst>
                <a:ext uri="{FF2B5EF4-FFF2-40B4-BE49-F238E27FC236}">
                  <a16:creationId xmlns:a16="http://schemas.microsoft.com/office/drawing/2014/main" id="{FACC7CD6-E3A2-1DCD-1DE7-0E4B76B8C64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8384343" y="11017713"/>
              <a:ext cx="284270" cy="190748"/>
            </a:xfrm>
            <a:prstGeom prst="rect">
              <a:avLst/>
            </a:prstGeom>
          </p:spPr>
        </p:pic>
        <p:sp>
          <p:nvSpPr>
            <p:cNvPr id="13" name="object 8">
              <a:extLst>
                <a:ext uri="{FF2B5EF4-FFF2-40B4-BE49-F238E27FC236}">
                  <a16:creationId xmlns:a16="http://schemas.microsoft.com/office/drawing/2014/main" id="{49B16D8E-C008-A2E8-ADFC-FF5E323D030E}"/>
                </a:ext>
              </a:extLst>
            </p:cNvPr>
            <p:cNvSpPr/>
            <p:nvPr/>
          </p:nvSpPr>
          <p:spPr>
            <a:xfrm>
              <a:off x="18695001" y="11020376"/>
              <a:ext cx="50165" cy="186055"/>
            </a:xfrm>
            <a:custGeom>
              <a:avLst/>
              <a:gdLst/>
              <a:ahLst/>
              <a:cxnLst/>
              <a:rect l="l" t="t" r="r" b="b"/>
              <a:pathLst>
                <a:path w="50165" h="186054">
                  <a:moveTo>
                    <a:pt x="50134" y="0"/>
                  </a:moveTo>
                  <a:lnTo>
                    <a:pt x="0" y="0"/>
                  </a:lnTo>
                  <a:lnTo>
                    <a:pt x="0" y="185554"/>
                  </a:lnTo>
                  <a:lnTo>
                    <a:pt x="50134" y="185554"/>
                  </a:lnTo>
                  <a:lnTo>
                    <a:pt x="50134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4" name="object 9">
              <a:extLst>
                <a:ext uri="{FF2B5EF4-FFF2-40B4-BE49-F238E27FC236}">
                  <a16:creationId xmlns:a16="http://schemas.microsoft.com/office/drawing/2014/main" id="{6E34E813-EB2E-BECF-305B-63FF4AEF52F0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778226" y="11017713"/>
              <a:ext cx="146738" cy="190748"/>
            </a:xfrm>
            <a:prstGeom prst="rect">
              <a:avLst/>
            </a:prstGeom>
          </p:spPr>
        </p:pic>
        <p:sp>
          <p:nvSpPr>
            <p:cNvPr id="15" name="object 10">
              <a:extLst>
                <a:ext uri="{FF2B5EF4-FFF2-40B4-BE49-F238E27FC236}">
                  <a16:creationId xmlns:a16="http://schemas.microsoft.com/office/drawing/2014/main" id="{7F8E7DB2-58A8-EAB8-AC9C-9BE9609E22EC}"/>
                </a:ext>
              </a:extLst>
            </p:cNvPr>
            <p:cNvSpPr/>
            <p:nvPr/>
          </p:nvSpPr>
          <p:spPr>
            <a:xfrm>
              <a:off x="18952884" y="11020512"/>
              <a:ext cx="109855" cy="185420"/>
            </a:xfrm>
            <a:custGeom>
              <a:avLst/>
              <a:gdLst/>
              <a:ahLst/>
              <a:cxnLst/>
              <a:rect l="l" t="t" r="r" b="b"/>
              <a:pathLst>
                <a:path w="109855" h="185420">
                  <a:moveTo>
                    <a:pt x="109601" y="0"/>
                  </a:moveTo>
                  <a:lnTo>
                    <a:pt x="0" y="0"/>
                  </a:lnTo>
                  <a:lnTo>
                    <a:pt x="0" y="40640"/>
                  </a:lnTo>
                  <a:lnTo>
                    <a:pt x="0" y="69850"/>
                  </a:lnTo>
                  <a:lnTo>
                    <a:pt x="0" y="109220"/>
                  </a:lnTo>
                  <a:lnTo>
                    <a:pt x="0" y="144780"/>
                  </a:lnTo>
                  <a:lnTo>
                    <a:pt x="0" y="185420"/>
                  </a:lnTo>
                  <a:lnTo>
                    <a:pt x="109601" y="185420"/>
                  </a:lnTo>
                  <a:lnTo>
                    <a:pt x="109601" y="144780"/>
                  </a:lnTo>
                  <a:lnTo>
                    <a:pt x="49885" y="144780"/>
                  </a:lnTo>
                  <a:lnTo>
                    <a:pt x="49885" y="109220"/>
                  </a:lnTo>
                  <a:lnTo>
                    <a:pt x="105181" y="109220"/>
                  </a:lnTo>
                  <a:lnTo>
                    <a:pt x="105181" y="69850"/>
                  </a:lnTo>
                  <a:lnTo>
                    <a:pt x="49885" y="69850"/>
                  </a:lnTo>
                  <a:lnTo>
                    <a:pt x="49885" y="40640"/>
                  </a:lnTo>
                  <a:lnTo>
                    <a:pt x="109601" y="40640"/>
                  </a:lnTo>
                  <a:lnTo>
                    <a:pt x="109601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6" name="object 11">
              <a:extLst>
                <a:ext uri="{FF2B5EF4-FFF2-40B4-BE49-F238E27FC236}">
                  <a16:creationId xmlns:a16="http://schemas.microsoft.com/office/drawing/2014/main" id="{635B7742-CC16-D8DB-4EBD-124147C1A911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055058" y="11302723"/>
              <a:ext cx="235657" cy="180287"/>
            </a:xfrm>
            <a:prstGeom prst="rect">
              <a:avLst/>
            </a:prstGeom>
          </p:spPr>
        </p:pic>
        <p:sp>
          <p:nvSpPr>
            <p:cNvPr id="17" name="object 12">
              <a:extLst>
                <a:ext uri="{FF2B5EF4-FFF2-40B4-BE49-F238E27FC236}">
                  <a16:creationId xmlns:a16="http://schemas.microsoft.com/office/drawing/2014/main" id="{55208BCB-1D12-562D-158C-086CC334ABDD}"/>
                </a:ext>
              </a:extLst>
            </p:cNvPr>
            <p:cNvSpPr/>
            <p:nvPr/>
          </p:nvSpPr>
          <p:spPr>
            <a:xfrm>
              <a:off x="18316233" y="11302681"/>
              <a:ext cx="362585" cy="180340"/>
            </a:xfrm>
            <a:custGeom>
              <a:avLst/>
              <a:gdLst/>
              <a:ahLst/>
              <a:cxnLst/>
              <a:rect l="l" t="t" r="r" b="b"/>
              <a:pathLst>
                <a:path w="362584" h="180340">
                  <a:moveTo>
                    <a:pt x="29476" y="50"/>
                  </a:moveTo>
                  <a:lnTo>
                    <a:pt x="0" y="50"/>
                  </a:lnTo>
                  <a:lnTo>
                    <a:pt x="0" y="180340"/>
                  </a:lnTo>
                  <a:lnTo>
                    <a:pt x="29476" y="180340"/>
                  </a:lnTo>
                  <a:lnTo>
                    <a:pt x="29476" y="50"/>
                  </a:lnTo>
                  <a:close/>
                </a:path>
                <a:path w="362584" h="180340">
                  <a:moveTo>
                    <a:pt x="192379" y="0"/>
                  </a:moveTo>
                  <a:lnTo>
                    <a:pt x="56845" y="0"/>
                  </a:lnTo>
                  <a:lnTo>
                    <a:pt x="56845" y="25400"/>
                  </a:lnTo>
                  <a:lnTo>
                    <a:pt x="109880" y="25400"/>
                  </a:lnTo>
                  <a:lnTo>
                    <a:pt x="109880" y="180340"/>
                  </a:lnTo>
                  <a:lnTo>
                    <a:pt x="139344" y="180340"/>
                  </a:lnTo>
                  <a:lnTo>
                    <a:pt x="139344" y="25400"/>
                  </a:lnTo>
                  <a:lnTo>
                    <a:pt x="192379" y="25400"/>
                  </a:lnTo>
                  <a:lnTo>
                    <a:pt x="192379" y="0"/>
                  </a:lnTo>
                  <a:close/>
                </a:path>
                <a:path w="362584" h="180340">
                  <a:moveTo>
                    <a:pt x="362191" y="0"/>
                  </a:moveTo>
                  <a:lnTo>
                    <a:pt x="332587" y="0"/>
                  </a:lnTo>
                  <a:lnTo>
                    <a:pt x="332587" y="73660"/>
                  </a:lnTo>
                  <a:lnTo>
                    <a:pt x="249478" y="73660"/>
                  </a:lnTo>
                  <a:lnTo>
                    <a:pt x="249478" y="0"/>
                  </a:lnTo>
                  <a:lnTo>
                    <a:pt x="220002" y="0"/>
                  </a:lnTo>
                  <a:lnTo>
                    <a:pt x="220002" y="73660"/>
                  </a:lnTo>
                  <a:lnTo>
                    <a:pt x="220002" y="99060"/>
                  </a:lnTo>
                  <a:lnTo>
                    <a:pt x="220002" y="180340"/>
                  </a:lnTo>
                  <a:lnTo>
                    <a:pt x="249478" y="180340"/>
                  </a:lnTo>
                  <a:lnTo>
                    <a:pt x="249478" y="99060"/>
                  </a:lnTo>
                  <a:lnTo>
                    <a:pt x="332587" y="99060"/>
                  </a:lnTo>
                  <a:lnTo>
                    <a:pt x="332587" y="180340"/>
                  </a:lnTo>
                  <a:lnTo>
                    <a:pt x="362191" y="180340"/>
                  </a:lnTo>
                  <a:lnTo>
                    <a:pt x="362191" y="99060"/>
                  </a:lnTo>
                  <a:lnTo>
                    <a:pt x="362191" y="73660"/>
                  </a:lnTo>
                  <a:lnTo>
                    <a:pt x="362191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13">
              <a:extLst>
                <a:ext uri="{FF2B5EF4-FFF2-40B4-BE49-F238E27FC236}">
                  <a16:creationId xmlns:a16="http://schemas.microsoft.com/office/drawing/2014/main" id="{CA9B61F6-54DE-6AA7-E182-B4E22AF8DCF8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8717022" y="11299886"/>
              <a:ext cx="168947" cy="185596"/>
            </a:xfrm>
            <a:prstGeom prst="rect">
              <a:avLst/>
            </a:prstGeom>
          </p:spPr>
        </p:pic>
        <p:pic>
          <p:nvPicPr>
            <p:cNvPr id="19" name="object 14">
              <a:extLst>
                <a:ext uri="{FF2B5EF4-FFF2-40B4-BE49-F238E27FC236}">
                  <a16:creationId xmlns:a16="http://schemas.microsoft.com/office/drawing/2014/main" id="{583FB84E-1C1C-37F4-B6CC-AB1B8D757A91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8923084" y="11302724"/>
              <a:ext cx="142927" cy="182758"/>
            </a:xfrm>
            <a:prstGeom prst="rect">
              <a:avLst/>
            </a:prstGeom>
          </p:spPr>
        </p:pic>
        <p:sp>
          <p:nvSpPr>
            <p:cNvPr id="20" name="object 15">
              <a:extLst>
                <a:ext uri="{FF2B5EF4-FFF2-40B4-BE49-F238E27FC236}">
                  <a16:creationId xmlns:a16="http://schemas.microsoft.com/office/drawing/2014/main" id="{AE445E5A-5578-9F6C-33A2-DD4200A04848}"/>
                </a:ext>
              </a:extLst>
            </p:cNvPr>
            <p:cNvSpPr/>
            <p:nvPr/>
          </p:nvSpPr>
          <p:spPr>
            <a:xfrm>
              <a:off x="18065725" y="11302681"/>
              <a:ext cx="1162050" cy="445134"/>
            </a:xfrm>
            <a:custGeom>
              <a:avLst/>
              <a:gdLst/>
              <a:ahLst/>
              <a:cxnLst/>
              <a:rect l="l" t="t" r="r" b="b"/>
              <a:pathLst>
                <a:path w="1162050" h="445134">
                  <a:moveTo>
                    <a:pt x="98767" y="433133"/>
                  </a:moveTo>
                  <a:lnTo>
                    <a:pt x="12598" y="433133"/>
                  </a:lnTo>
                  <a:lnTo>
                    <a:pt x="12598" y="264223"/>
                  </a:lnTo>
                  <a:lnTo>
                    <a:pt x="0" y="264223"/>
                  </a:lnTo>
                  <a:lnTo>
                    <a:pt x="0" y="433133"/>
                  </a:lnTo>
                  <a:lnTo>
                    <a:pt x="0" y="444563"/>
                  </a:lnTo>
                  <a:lnTo>
                    <a:pt x="98767" y="444563"/>
                  </a:lnTo>
                  <a:lnTo>
                    <a:pt x="98767" y="433133"/>
                  </a:lnTo>
                  <a:close/>
                </a:path>
                <a:path w="1162050" h="445134">
                  <a:moveTo>
                    <a:pt x="142532" y="263829"/>
                  </a:moveTo>
                  <a:lnTo>
                    <a:pt x="129921" y="263829"/>
                  </a:lnTo>
                  <a:lnTo>
                    <a:pt x="129921" y="444563"/>
                  </a:lnTo>
                  <a:lnTo>
                    <a:pt x="142532" y="444563"/>
                  </a:lnTo>
                  <a:lnTo>
                    <a:pt x="142532" y="263829"/>
                  </a:lnTo>
                  <a:close/>
                </a:path>
                <a:path w="1162050" h="445134">
                  <a:moveTo>
                    <a:pt x="299529" y="264223"/>
                  </a:moveTo>
                  <a:lnTo>
                    <a:pt x="169354" y="264223"/>
                  </a:lnTo>
                  <a:lnTo>
                    <a:pt x="169354" y="275653"/>
                  </a:lnTo>
                  <a:lnTo>
                    <a:pt x="228079" y="275653"/>
                  </a:lnTo>
                  <a:lnTo>
                    <a:pt x="228079" y="444563"/>
                  </a:lnTo>
                  <a:lnTo>
                    <a:pt x="240804" y="444563"/>
                  </a:lnTo>
                  <a:lnTo>
                    <a:pt x="240804" y="275653"/>
                  </a:lnTo>
                  <a:lnTo>
                    <a:pt x="299529" y="275653"/>
                  </a:lnTo>
                  <a:lnTo>
                    <a:pt x="299529" y="264223"/>
                  </a:lnTo>
                  <a:close/>
                </a:path>
                <a:path w="1162050" h="445134">
                  <a:moveTo>
                    <a:pt x="338963" y="263829"/>
                  </a:moveTo>
                  <a:lnTo>
                    <a:pt x="326351" y="263829"/>
                  </a:lnTo>
                  <a:lnTo>
                    <a:pt x="326351" y="444563"/>
                  </a:lnTo>
                  <a:lnTo>
                    <a:pt x="338963" y="444563"/>
                  </a:lnTo>
                  <a:lnTo>
                    <a:pt x="338963" y="263829"/>
                  </a:lnTo>
                  <a:close/>
                </a:path>
                <a:path w="1162050" h="445134">
                  <a:moveTo>
                    <a:pt x="1161707" y="0"/>
                  </a:moveTo>
                  <a:lnTo>
                    <a:pt x="1026172" y="0"/>
                  </a:lnTo>
                  <a:lnTo>
                    <a:pt x="1026172" y="25400"/>
                  </a:lnTo>
                  <a:lnTo>
                    <a:pt x="1079195" y="25400"/>
                  </a:lnTo>
                  <a:lnTo>
                    <a:pt x="1079195" y="180340"/>
                  </a:lnTo>
                  <a:lnTo>
                    <a:pt x="1108671" y="180340"/>
                  </a:lnTo>
                  <a:lnTo>
                    <a:pt x="1108671" y="25400"/>
                  </a:lnTo>
                  <a:lnTo>
                    <a:pt x="1161707" y="25400"/>
                  </a:lnTo>
                  <a:lnTo>
                    <a:pt x="1161707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16">
              <a:extLst>
                <a:ext uri="{FF2B5EF4-FFF2-40B4-BE49-F238E27FC236}">
                  <a16:creationId xmlns:a16="http://schemas.microsoft.com/office/drawing/2014/main" id="{35F8001C-4D29-44D7-E001-3C5312EB4A70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8446220" y="11563659"/>
              <a:ext cx="147367" cy="186046"/>
            </a:xfrm>
            <a:prstGeom prst="rect">
              <a:avLst/>
            </a:prstGeom>
          </p:spPr>
        </p:pic>
        <p:pic>
          <p:nvPicPr>
            <p:cNvPr id="22" name="object 17">
              <a:extLst>
                <a:ext uri="{FF2B5EF4-FFF2-40B4-BE49-F238E27FC236}">
                  <a16:creationId xmlns:a16="http://schemas.microsoft.com/office/drawing/2014/main" id="{E5BD0F0C-91CC-2127-2843-771944AE7C90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8613357" y="11565767"/>
              <a:ext cx="283342" cy="181470"/>
            </a:xfrm>
            <a:prstGeom prst="rect">
              <a:avLst/>
            </a:prstGeom>
          </p:spPr>
        </p:pic>
        <p:sp>
          <p:nvSpPr>
            <p:cNvPr id="23" name="object 18">
              <a:extLst>
                <a:ext uri="{FF2B5EF4-FFF2-40B4-BE49-F238E27FC236}">
                  <a16:creationId xmlns:a16="http://schemas.microsoft.com/office/drawing/2014/main" id="{BE1A3599-028F-8AFC-5CF4-97D3E4A6A326}"/>
                </a:ext>
              </a:extLst>
            </p:cNvPr>
            <p:cNvSpPr/>
            <p:nvPr/>
          </p:nvSpPr>
          <p:spPr>
            <a:xfrm>
              <a:off x="18923528" y="11566506"/>
              <a:ext cx="12700" cy="180975"/>
            </a:xfrm>
            <a:custGeom>
              <a:avLst/>
              <a:gdLst/>
              <a:ahLst/>
              <a:cxnLst/>
              <a:rect l="l" t="t" r="r" b="b"/>
              <a:pathLst>
                <a:path w="12700" h="180975">
                  <a:moveTo>
                    <a:pt x="12606" y="0"/>
                  </a:moveTo>
                  <a:lnTo>
                    <a:pt x="0" y="0"/>
                  </a:lnTo>
                  <a:lnTo>
                    <a:pt x="0" y="180727"/>
                  </a:lnTo>
                  <a:lnTo>
                    <a:pt x="12606" y="180727"/>
                  </a:lnTo>
                  <a:lnTo>
                    <a:pt x="12606" y="0"/>
                  </a:lnTo>
                  <a:close/>
                </a:path>
              </a:pathLst>
            </a:custGeom>
            <a:solidFill>
              <a:srgbClr val="7A7C8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4" name="object 19">
              <a:extLst>
                <a:ext uri="{FF2B5EF4-FFF2-40B4-BE49-F238E27FC236}">
                  <a16:creationId xmlns:a16="http://schemas.microsoft.com/office/drawing/2014/main" id="{1AE7696C-EE49-017E-BF79-FF83342CBF36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8977667" y="11563661"/>
              <a:ext cx="161576" cy="186046"/>
            </a:xfrm>
            <a:prstGeom prst="rect">
              <a:avLst/>
            </a:prstGeom>
          </p:spPr>
        </p:pic>
        <p:pic>
          <p:nvPicPr>
            <p:cNvPr id="25" name="object 20">
              <a:extLst>
                <a:ext uri="{FF2B5EF4-FFF2-40B4-BE49-F238E27FC236}">
                  <a16:creationId xmlns:a16="http://schemas.microsoft.com/office/drawing/2014/main" id="{331C5B3E-EFD5-2876-9966-CF23DCE7832F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9180778" y="11566509"/>
              <a:ext cx="131409" cy="180727"/>
            </a:xfrm>
            <a:prstGeom prst="rect">
              <a:avLst/>
            </a:prstGeom>
          </p:spPr>
        </p:pic>
        <p:sp>
          <p:nvSpPr>
            <p:cNvPr id="26" name="object 21">
              <a:extLst>
                <a:ext uri="{FF2B5EF4-FFF2-40B4-BE49-F238E27FC236}">
                  <a16:creationId xmlns:a16="http://schemas.microsoft.com/office/drawing/2014/main" id="{A49BF283-C69E-C902-2147-8E24E09B9F2C}"/>
                </a:ext>
              </a:extLst>
            </p:cNvPr>
            <p:cNvSpPr/>
            <p:nvPr/>
          </p:nvSpPr>
          <p:spPr>
            <a:xfrm>
              <a:off x="17305002" y="11018376"/>
              <a:ext cx="513715" cy="76200"/>
            </a:xfrm>
            <a:custGeom>
              <a:avLst/>
              <a:gdLst/>
              <a:ahLst/>
              <a:cxnLst/>
              <a:rect l="l" t="t" r="r" b="b"/>
              <a:pathLst>
                <a:path w="513715" h="76200">
                  <a:moveTo>
                    <a:pt x="513418" y="0"/>
                  </a:moveTo>
                  <a:lnTo>
                    <a:pt x="0" y="0"/>
                  </a:lnTo>
                  <a:lnTo>
                    <a:pt x="0" y="76050"/>
                  </a:lnTo>
                  <a:lnTo>
                    <a:pt x="513418" y="76050"/>
                  </a:lnTo>
                  <a:lnTo>
                    <a:pt x="513418" y="0"/>
                  </a:lnTo>
                  <a:close/>
                </a:path>
              </a:pathLst>
            </a:custGeom>
            <a:solidFill>
              <a:srgbClr val="A78A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2">
              <a:extLst>
                <a:ext uri="{FF2B5EF4-FFF2-40B4-BE49-F238E27FC236}">
                  <a16:creationId xmlns:a16="http://schemas.microsoft.com/office/drawing/2014/main" id="{6CB13451-8E7F-2CB7-8FA8-233126F67A05}"/>
                </a:ext>
              </a:extLst>
            </p:cNvPr>
            <p:cNvSpPr/>
            <p:nvPr/>
          </p:nvSpPr>
          <p:spPr>
            <a:xfrm>
              <a:off x="15884111" y="10541781"/>
              <a:ext cx="4220210" cy="2306320"/>
            </a:xfrm>
            <a:custGeom>
              <a:avLst/>
              <a:gdLst/>
              <a:ahLst/>
              <a:cxnLst/>
              <a:rect l="l" t="t" r="r" b="b"/>
              <a:pathLst>
                <a:path w="4220209" h="2306320">
                  <a:moveTo>
                    <a:pt x="4219988" y="815958"/>
                  </a:moveTo>
                  <a:lnTo>
                    <a:pt x="4191904" y="882755"/>
                  </a:lnTo>
                  <a:lnTo>
                    <a:pt x="4172368" y="925143"/>
                  </a:lnTo>
                  <a:lnTo>
                    <a:pt x="4151819" y="966953"/>
                  </a:lnTo>
                  <a:lnTo>
                    <a:pt x="4130274" y="1008168"/>
                  </a:lnTo>
                  <a:lnTo>
                    <a:pt x="4107749" y="1048774"/>
                  </a:lnTo>
                  <a:lnTo>
                    <a:pt x="4084260" y="1088754"/>
                  </a:lnTo>
                  <a:lnTo>
                    <a:pt x="4059821" y="1128093"/>
                  </a:lnTo>
                  <a:lnTo>
                    <a:pt x="4034449" y="1166773"/>
                  </a:lnTo>
                  <a:lnTo>
                    <a:pt x="4008160" y="1204781"/>
                  </a:lnTo>
                  <a:lnTo>
                    <a:pt x="3980969" y="1242098"/>
                  </a:lnTo>
                  <a:lnTo>
                    <a:pt x="3952893" y="1278711"/>
                  </a:lnTo>
                  <a:lnTo>
                    <a:pt x="3923946" y="1314603"/>
                  </a:lnTo>
                  <a:lnTo>
                    <a:pt x="3894144" y="1349757"/>
                  </a:lnTo>
                  <a:lnTo>
                    <a:pt x="3863505" y="1384159"/>
                  </a:lnTo>
                  <a:lnTo>
                    <a:pt x="3832042" y="1417791"/>
                  </a:lnTo>
                  <a:lnTo>
                    <a:pt x="3799772" y="1450639"/>
                  </a:lnTo>
                  <a:lnTo>
                    <a:pt x="3766711" y="1482687"/>
                  </a:lnTo>
                  <a:lnTo>
                    <a:pt x="3732874" y="1513918"/>
                  </a:lnTo>
                  <a:lnTo>
                    <a:pt x="3698277" y="1544317"/>
                  </a:lnTo>
                  <a:lnTo>
                    <a:pt x="3662937" y="1573867"/>
                  </a:lnTo>
                  <a:lnTo>
                    <a:pt x="3626868" y="1602554"/>
                  </a:lnTo>
                  <a:lnTo>
                    <a:pt x="3590086" y="1630360"/>
                  </a:lnTo>
                  <a:lnTo>
                    <a:pt x="3552607" y="1657271"/>
                  </a:lnTo>
                  <a:lnTo>
                    <a:pt x="3514448" y="1683270"/>
                  </a:lnTo>
                  <a:lnTo>
                    <a:pt x="3475623" y="1708341"/>
                  </a:lnTo>
                  <a:lnTo>
                    <a:pt x="3436148" y="1732468"/>
                  </a:lnTo>
                  <a:lnTo>
                    <a:pt x="3396040" y="1755637"/>
                  </a:lnTo>
                  <a:lnTo>
                    <a:pt x="3355314" y="1777830"/>
                  </a:lnTo>
                  <a:lnTo>
                    <a:pt x="3313985" y="1799031"/>
                  </a:lnTo>
                  <a:lnTo>
                    <a:pt x="3272070" y="1819226"/>
                  </a:lnTo>
                  <a:lnTo>
                    <a:pt x="3229584" y="1838398"/>
                  </a:lnTo>
                  <a:lnTo>
                    <a:pt x="3186543" y="1856530"/>
                  </a:lnTo>
                  <a:lnTo>
                    <a:pt x="3142962" y="1873609"/>
                  </a:lnTo>
                  <a:lnTo>
                    <a:pt x="3098858" y="1889616"/>
                  </a:lnTo>
                  <a:lnTo>
                    <a:pt x="3054247" y="1904537"/>
                  </a:lnTo>
                  <a:lnTo>
                    <a:pt x="3009143" y="1918356"/>
                  </a:lnTo>
                  <a:lnTo>
                    <a:pt x="2963563" y="1931056"/>
                  </a:lnTo>
                  <a:lnTo>
                    <a:pt x="2917522" y="1942622"/>
                  </a:lnTo>
                  <a:lnTo>
                    <a:pt x="2871037" y="1953038"/>
                  </a:lnTo>
                  <a:lnTo>
                    <a:pt x="2824123" y="1962288"/>
                  </a:lnTo>
                  <a:lnTo>
                    <a:pt x="2776795" y="1970357"/>
                  </a:lnTo>
                  <a:lnTo>
                    <a:pt x="2729070" y="1977227"/>
                  </a:lnTo>
                  <a:lnTo>
                    <a:pt x="2680963" y="1982885"/>
                  </a:lnTo>
                  <a:lnTo>
                    <a:pt x="2632491" y="1987312"/>
                  </a:lnTo>
                  <a:lnTo>
                    <a:pt x="2583668" y="1990494"/>
                  </a:lnTo>
                  <a:lnTo>
                    <a:pt x="2534510" y="1992415"/>
                  </a:lnTo>
                  <a:lnTo>
                    <a:pt x="2485034" y="1993059"/>
                  </a:lnTo>
                  <a:lnTo>
                    <a:pt x="2436764" y="1992447"/>
                  </a:lnTo>
                  <a:lnTo>
                    <a:pt x="2388796" y="1990619"/>
                  </a:lnTo>
                  <a:lnTo>
                    <a:pt x="2341143" y="1987591"/>
                  </a:lnTo>
                  <a:lnTo>
                    <a:pt x="2293821" y="1983377"/>
                  </a:lnTo>
                  <a:lnTo>
                    <a:pt x="2246844" y="1977992"/>
                  </a:lnTo>
                  <a:lnTo>
                    <a:pt x="2200227" y="1971450"/>
                  </a:lnTo>
                  <a:lnTo>
                    <a:pt x="2153985" y="1963767"/>
                  </a:lnTo>
                  <a:lnTo>
                    <a:pt x="2108132" y="1954958"/>
                  </a:lnTo>
                  <a:lnTo>
                    <a:pt x="2062683" y="1945036"/>
                  </a:lnTo>
                  <a:lnTo>
                    <a:pt x="2017652" y="1934016"/>
                  </a:lnTo>
                  <a:lnTo>
                    <a:pt x="1973055" y="1921914"/>
                  </a:lnTo>
                  <a:lnTo>
                    <a:pt x="1928906" y="1908745"/>
                  </a:lnTo>
                  <a:lnTo>
                    <a:pt x="1885220" y="1894521"/>
                  </a:lnTo>
                  <a:lnTo>
                    <a:pt x="1842011" y="1879260"/>
                  </a:lnTo>
                  <a:lnTo>
                    <a:pt x="1799294" y="1862975"/>
                  </a:lnTo>
                  <a:lnTo>
                    <a:pt x="1757084" y="1845680"/>
                  </a:lnTo>
                  <a:lnTo>
                    <a:pt x="1715395" y="1827392"/>
                  </a:lnTo>
                  <a:lnTo>
                    <a:pt x="1674242" y="1808123"/>
                  </a:lnTo>
                  <a:lnTo>
                    <a:pt x="1633641" y="1787890"/>
                  </a:lnTo>
                  <a:lnTo>
                    <a:pt x="1593605" y="1766707"/>
                  </a:lnTo>
                  <a:lnTo>
                    <a:pt x="1554149" y="1744589"/>
                  </a:lnTo>
                  <a:lnTo>
                    <a:pt x="1515288" y="1721550"/>
                  </a:lnTo>
                  <a:lnTo>
                    <a:pt x="1477037" y="1697605"/>
                  </a:lnTo>
                  <a:lnTo>
                    <a:pt x="1439410" y="1672769"/>
                  </a:lnTo>
                  <a:lnTo>
                    <a:pt x="1402422" y="1647056"/>
                  </a:lnTo>
                  <a:lnTo>
                    <a:pt x="1366087" y="1620482"/>
                  </a:lnTo>
                  <a:lnTo>
                    <a:pt x="1330421" y="1593060"/>
                  </a:lnTo>
                  <a:lnTo>
                    <a:pt x="1295438" y="1564807"/>
                  </a:lnTo>
                  <a:lnTo>
                    <a:pt x="1261153" y="1535736"/>
                  </a:lnTo>
                  <a:lnTo>
                    <a:pt x="1227580" y="1505862"/>
                  </a:lnTo>
                  <a:lnTo>
                    <a:pt x="1194734" y="1475200"/>
                  </a:lnTo>
                  <a:lnTo>
                    <a:pt x="1162630" y="1443764"/>
                  </a:lnTo>
                  <a:lnTo>
                    <a:pt x="1131283" y="1411570"/>
                  </a:lnTo>
                  <a:lnTo>
                    <a:pt x="1100707" y="1378633"/>
                  </a:lnTo>
                  <a:lnTo>
                    <a:pt x="1070916" y="1344966"/>
                  </a:lnTo>
                  <a:lnTo>
                    <a:pt x="1041926" y="1310584"/>
                  </a:lnTo>
                  <a:lnTo>
                    <a:pt x="1013752" y="1275503"/>
                  </a:lnTo>
                  <a:lnTo>
                    <a:pt x="986407" y="1239737"/>
                  </a:lnTo>
                  <a:lnTo>
                    <a:pt x="959907" y="1203301"/>
                  </a:lnTo>
                  <a:lnTo>
                    <a:pt x="934266" y="1166209"/>
                  </a:lnTo>
                  <a:lnTo>
                    <a:pt x="909500" y="1128476"/>
                  </a:lnTo>
                  <a:lnTo>
                    <a:pt x="885621" y="1090118"/>
                  </a:lnTo>
                  <a:lnTo>
                    <a:pt x="862647" y="1051148"/>
                  </a:lnTo>
                  <a:lnTo>
                    <a:pt x="840590" y="1011581"/>
                  </a:lnTo>
                  <a:lnTo>
                    <a:pt x="819466" y="971433"/>
                  </a:lnTo>
                  <a:lnTo>
                    <a:pt x="799290" y="930717"/>
                  </a:lnTo>
                  <a:lnTo>
                    <a:pt x="780076" y="889449"/>
                  </a:lnTo>
                  <a:lnTo>
                    <a:pt x="761838" y="847644"/>
                  </a:lnTo>
                  <a:lnTo>
                    <a:pt x="744592" y="805315"/>
                  </a:lnTo>
                  <a:lnTo>
                    <a:pt x="728352" y="762479"/>
                  </a:lnTo>
                  <a:lnTo>
                    <a:pt x="713133" y="719148"/>
                  </a:lnTo>
                  <a:lnTo>
                    <a:pt x="698950" y="675339"/>
                  </a:lnTo>
                  <a:lnTo>
                    <a:pt x="685817" y="631066"/>
                  </a:lnTo>
                  <a:lnTo>
                    <a:pt x="673749" y="586344"/>
                  </a:lnTo>
                  <a:lnTo>
                    <a:pt x="662760" y="541187"/>
                  </a:lnTo>
                  <a:lnTo>
                    <a:pt x="652866" y="495610"/>
                  </a:lnTo>
                  <a:lnTo>
                    <a:pt x="644081" y="449629"/>
                  </a:lnTo>
                  <a:lnTo>
                    <a:pt x="636419" y="403256"/>
                  </a:lnTo>
                  <a:lnTo>
                    <a:pt x="629896" y="356509"/>
                  </a:lnTo>
                  <a:lnTo>
                    <a:pt x="624526" y="309400"/>
                  </a:lnTo>
                  <a:lnTo>
                    <a:pt x="620324" y="261945"/>
                  </a:lnTo>
                  <a:lnTo>
                    <a:pt x="617304" y="214159"/>
                  </a:lnTo>
                  <a:lnTo>
                    <a:pt x="615482" y="166055"/>
                  </a:lnTo>
                  <a:lnTo>
                    <a:pt x="614871" y="117650"/>
                  </a:lnTo>
                  <a:lnTo>
                    <a:pt x="615459" y="88007"/>
                  </a:lnTo>
                  <a:lnTo>
                    <a:pt x="616934" y="58593"/>
                  </a:lnTo>
                  <a:lnTo>
                    <a:pt x="618864" y="29295"/>
                  </a:lnTo>
                  <a:lnTo>
                    <a:pt x="620818" y="0"/>
                  </a:lnTo>
                  <a:lnTo>
                    <a:pt x="0" y="0"/>
                  </a:lnTo>
                  <a:lnTo>
                    <a:pt x="0" y="112425"/>
                  </a:lnTo>
                  <a:lnTo>
                    <a:pt x="462" y="160786"/>
                  </a:lnTo>
                  <a:lnTo>
                    <a:pt x="1844" y="208927"/>
                  </a:lnTo>
                  <a:lnTo>
                    <a:pt x="4137" y="256837"/>
                  </a:lnTo>
                  <a:lnTo>
                    <a:pt x="7333" y="304511"/>
                  </a:lnTo>
                  <a:lnTo>
                    <a:pt x="11422" y="351938"/>
                  </a:lnTo>
                  <a:lnTo>
                    <a:pt x="16398" y="399110"/>
                  </a:lnTo>
                  <a:lnTo>
                    <a:pt x="22251" y="446020"/>
                  </a:lnTo>
                  <a:lnTo>
                    <a:pt x="28973" y="492658"/>
                  </a:lnTo>
                  <a:lnTo>
                    <a:pt x="36555" y="539017"/>
                  </a:lnTo>
                  <a:lnTo>
                    <a:pt x="44990" y="585087"/>
                  </a:lnTo>
                  <a:lnTo>
                    <a:pt x="54268" y="630861"/>
                  </a:lnTo>
                  <a:lnTo>
                    <a:pt x="64382" y="676330"/>
                  </a:lnTo>
                  <a:lnTo>
                    <a:pt x="75322" y="721485"/>
                  </a:lnTo>
                  <a:lnTo>
                    <a:pt x="87081" y="766318"/>
                  </a:lnTo>
                  <a:lnTo>
                    <a:pt x="99650" y="810822"/>
                  </a:lnTo>
                  <a:lnTo>
                    <a:pt x="113021" y="854986"/>
                  </a:lnTo>
                  <a:lnTo>
                    <a:pt x="127185" y="898803"/>
                  </a:lnTo>
                  <a:lnTo>
                    <a:pt x="142133" y="942265"/>
                  </a:lnTo>
                  <a:lnTo>
                    <a:pt x="157858" y="985363"/>
                  </a:lnTo>
                  <a:lnTo>
                    <a:pt x="174351" y="1028088"/>
                  </a:lnTo>
                  <a:lnTo>
                    <a:pt x="191604" y="1070433"/>
                  </a:lnTo>
                  <a:lnTo>
                    <a:pt x="209607" y="1112388"/>
                  </a:lnTo>
                  <a:lnTo>
                    <a:pt x="228354" y="1153946"/>
                  </a:lnTo>
                  <a:lnTo>
                    <a:pt x="247835" y="1195098"/>
                  </a:lnTo>
                  <a:lnTo>
                    <a:pt x="268041" y="1235835"/>
                  </a:lnTo>
                  <a:lnTo>
                    <a:pt x="288965" y="1276149"/>
                  </a:lnTo>
                  <a:lnTo>
                    <a:pt x="310599" y="1316032"/>
                  </a:lnTo>
                  <a:lnTo>
                    <a:pt x="332932" y="1355475"/>
                  </a:lnTo>
                  <a:lnTo>
                    <a:pt x="355959" y="1394471"/>
                  </a:lnTo>
                  <a:lnTo>
                    <a:pt x="379668" y="1433009"/>
                  </a:lnTo>
                  <a:lnTo>
                    <a:pt x="404054" y="1471083"/>
                  </a:lnTo>
                  <a:lnTo>
                    <a:pt x="429106" y="1508683"/>
                  </a:lnTo>
                  <a:lnTo>
                    <a:pt x="454817" y="1545801"/>
                  </a:lnTo>
                  <a:lnTo>
                    <a:pt x="481178" y="1582429"/>
                  </a:lnTo>
                  <a:lnTo>
                    <a:pt x="508181" y="1618559"/>
                  </a:lnTo>
                  <a:lnTo>
                    <a:pt x="535817" y="1654181"/>
                  </a:lnTo>
                  <a:lnTo>
                    <a:pt x="564078" y="1689288"/>
                  </a:lnTo>
                  <a:lnTo>
                    <a:pt x="592956" y="1723871"/>
                  </a:lnTo>
                  <a:lnTo>
                    <a:pt x="622441" y="1757922"/>
                  </a:lnTo>
                  <a:lnTo>
                    <a:pt x="652527" y="1791432"/>
                  </a:lnTo>
                  <a:lnTo>
                    <a:pt x="683203" y="1824392"/>
                  </a:lnTo>
                  <a:lnTo>
                    <a:pt x="714463" y="1856796"/>
                  </a:lnTo>
                  <a:lnTo>
                    <a:pt x="746297" y="1888633"/>
                  </a:lnTo>
                  <a:lnTo>
                    <a:pt x="778697" y="1919895"/>
                  </a:lnTo>
                  <a:lnTo>
                    <a:pt x="811654" y="1950575"/>
                  </a:lnTo>
                  <a:lnTo>
                    <a:pt x="845161" y="1980664"/>
                  </a:lnTo>
                  <a:lnTo>
                    <a:pt x="879208" y="2010153"/>
                  </a:lnTo>
                  <a:lnTo>
                    <a:pt x="913788" y="2039033"/>
                  </a:lnTo>
                  <a:lnTo>
                    <a:pt x="948892" y="2067298"/>
                  </a:lnTo>
                  <a:lnTo>
                    <a:pt x="984511" y="2094937"/>
                  </a:lnTo>
                  <a:lnTo>
                    <a:pt x="1020637" y="2121943"/>
                  </a:lnTo>
                  <a:lnTo>
                    <a:pt x="1057262" y="2148307"/>
                  </a:lnTo>
                  <a:lnTo>
                    <a:pt x="1094378" y="2174021"/>
                  </a:lnTo>
                  <a:lnTo>
                    <a:pt x="1131975" y="2199077"/>
                  </a:lnTo>
                  <a:lnTo>
                    <a:pt x="1170046" y="2223465"/>
                  </a:lnTo>
                  <a:lnTo>
                    <a:pt x="1208582" y="2247178"/>
                  </a:lnTo>
                  <a:lnTo>
                    <a:pt x="1247574" y="2270207"/>
                  </a:lnTo>
                  <a:lnTo>
                    <a:pt x="1287014" y="2292544"/>
                  </a:lnTo>
                  <a:lnTo>
                    <a:pt x="1311807" y="2305994"/>
                  </a:lnTo>
                </a:path>
                <a:path w="4220209" h="2306320">
                  <a:moveTo>
                    <a:pt x="3669507" y="2305994"/>
                  </a:moveTo>
                  <a:lnTo>
                    <a:pt x="3733746" y="2270207"/>
                  </a:lnTo>
                  <a:lnTo>
                    <a:pt x="3772742" y="2247178"/>
                  </a:lnTo>
                  <a:lnTo>
                    <a:pt x="3811281" y="2223465"/>
                  </a:lnTo>
                  <a:lnTo>
                    <a:pt x="3849355" y="2199077"/>
                  </a:lnTo>
                  <a:lnTo>
                    <a:pt x="3886955" y="2174021"/>
                  </a:lnTo>
                  <a:lnTo>
                    <a:pt x="3924074" y="2148307"/>
                  </a:lnTo>
                  <a:lnTo>
                    <a:pt x="3960702" y="2121943"/>
                  </a:lnTo>
                  <a:lnTo>
                    <a:pt x="3996831" y="2094937"/>
                  </a:lnTo>
                  <a:lnTo>
                    <a:pt x="4032453" y="2067298"/>
                  </a:lnTo>
                  <a:lnTo>
                    <a:pt x="4067559" y="2039033"/>
                  </a:lnTo>
                  <a:lnTo>
                    <a:pt x="4102141" y="2010153"/>
                  </a:lnTo>
                  <a:lnTo>
                    <a:pt x="4136191" y="1980664"/>
                  </a:lnTo>
                  <a:lnTo>
                    <a:pt x="4169700" y="1950575"/>
                  </a:lnTo>
                  <a:lnTo>
                    <a:pt x="4202660" y="1919895"/>
                  </a:lnTo>
                  <a:lnTo>
                    <a:pt x="4219988" y="1903176"/>
                  </a:lnTo>
                </a:path>
              </a:pathLst>
            </a:custGeom>
            <a:ln w="31412">
              <a:solidFill>
                <a:srgbClr val="A78A4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object 23">
            <a:extLst>
              <a:ext uri="{FF2B5EF4-FFF2-40B4-BE49-F238E27FC236}">
                <a16:creationId xmlns:a16="http://schemas.microsoft.com/office/drawing/2014/main" id="{BFD4C767-559D-B761-6434-849A19035F02}"/>
              </a:ext>
            </a:extLst>
          </p:cNvPr>
          <p:cNvSpPr/>
          <p:nvPr userDrawn="1"/>
        </p:nvSpPr>
        <p:spPr>
          <a:xfrm>
            <a:off x="497344" y="0"/>
            <a:ext cx="630555" cy="4417695"/>
          </a:xfrm>
          <a:custGeom>
            <a:avLst/>
            <a:gdLst/>
            <a:ahLst/>
            <a:cxnLst/>
            <a:rect l="l" t="t" r="r" b="b"/>
            <a:pathLst>
              <a:path w="630555" h="4417695">
                <a:moveTo>
                  <a:pt x="630242" y="4083639"/>
                </a:moveTo>
                <a:lnTo>
                  <a:pt x="630242" y="4073744"/>
                </a:lnTo>
                <a:lnTo>
                  <a:pt x="630106" y="4073859"/>
                </a:lnTo>
                <a:lnTo>
                  <a:pt x="629855" y="4074090"/>
                </a:lnTo>
                <a:lnTo>
                  <a:pt x="629855" y="0"/>
                </a:lnTo>
              </a:path>
              <a:path w="630555" h="4417695">
                <a:moveTo>
                  <a:pt x="2434" y="0"/>
                </a:moveTo>
                <a:lnTo>
                  <a:pt x="0" y="2699357"/>
                </a:lnTo>
                <a:lnTo>
                  <a:pt x="0" y="4417388"/>
                </a:lnTo>
                <a:lnTo>
                  <a:pt x="49735" y="4401593"/>
                </a:lnTo>
                <a:lnTo>
                  <a:pt x="98845" y="4384492"/>
                </a:lnTo>
                <a:lnTo>
                  <a:pt x="147304" y="4366102"/>
                </a:lnTo>
                <a:lnTo>
                  <a:pt x="195086" y="4346440"/>
                </a:lnTo>
                <a:lnTo>
                  <a:pt x="242168" y="4325523"/>
                </a:lnTo>
                <a:lnTo>
                  <a:pt x="288524" y="4303369"/>
                </a:lnTo>
                <a:lnTo>
                  <a:pt x="334129" y="4279994"/>
                </a:lnTo>
                <a:lnTo>
                  <a:pt x="378959" y="4255416"/>
                </a:lnTo>
                <a:lnTo>
                  <a:pt x="422987" y="4229652"/>
                </a:lnTo>
                <a:lnTo>
                  <a:pt x="466190" y="4202719"/>
                </a:lnTo>
                <a:lnTo>
                  <a:pt x="508541" y="4174634"/>
                </a:lnTo>
                <a:lnTo>
                  <a:pt x="550017" y="4145414"/>
                </a:lnTo>
                <a:lnTo>
                  <a:pt x="590593" y="4115077"/>
                </a:lnTo>
                <a:lnTo>
                  <a:pt x="630242" y="4083639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4">
            <a:extLst>
              <a:ext uri="{FF2B5EF4-FFF2-40B4-BE49-F238E27FC236}">
                <a16:creationId xmlns:a16="http://schemas.microsoft.com/office/drawing/2014/main" id="{353A2108-4914-E71B-C902-95C04183A52B}"/>
              </a:ext>
            </a:extLst>
          </p:cNvPr>
          <p:cNvSpPr/>
          <p:nvPr userDrawn="1"/>
        </p:nvSpPr>
        <p:spPr>
          <a:xfrm>
            <a:off x="15802178" y="448750"/>
            <a:ext cx="4302125" cy="677545"/>
          </a:xfrm>
          <a:custGeom>
            <a:avLst/>
            <a:gdLst/>
            <a:ahLst/>
            <a:cxnLst/>
            <a:rect l="l" t="t" r="r" b="b"/>
            <a:pathLst>
              <a:path w="4302125" h="677544">
                <a:moveTo>
                  <a:pt x="4301921" y="0"/>
                </a:moveTo>
                <a:lnTo>
                  <a:pt x="0" y="0"/>
                </a:lnTo>
                <a:lnTo>
                  <a:pt x="0" y="677036"/>
                </a:lnTo>
                <a:lnTo>
                  <a:pt x="4301921" y="677036"/>
                </a:lnTo>
              </a:path>
            </a:pathLst>
          </a:custGeom>
          <a:ln w="31412">
            <a:solidFill>
              <a:srgbClr val="A78A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AC54CAD8-3E23-BA49-24F6-C9036916EB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14007" y="6364388"/>
            <a:ext cx="13833061" cy="769441"/>
          </a:xfrm>
        </p:spPr>
        <p:txBody>
          <a:bodyPr/>
          <a:lstStyle>
            <a:lvl1pPr algn="ctr">
              <a:defRPr sz="50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4000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6000">
                <a:latin typeface="+mj-lt"/>
              </a:defRPr>
            </a:lvl3pPr>
            <a:lvl4pPr>
              <a:defRPr sz="6000">
                <a:latin typeface="+mj-lt"/>
              </a:defRPr>
            </a:lvl4pPr>
            <a:lvl5pPr>
              <a:defRPr sz="6000">
                <a:latin typeface="+mj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404370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image" Target="../media/image13.emf"/><Relationship Id="rId2" Type="http://schemas.openxmlformats.org/officeDocument/2006/relationships/slideLayout" Target="../slideLayouts/slideLayout9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18DD2A3-FBD1-7DBE-6395-E00758945D83}"/>
              </a:ext>
            </a:extLst>
          </p:cNvPr>
          <p:cNvGraphicFramePr>
            <a:graphicFrameLocks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7863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27" imgH="327" progId="TCLayout.ActiveDocument.1">
                  <p:embed/>
                </p:oleObj>
              </mc:Choice>
              <mc:Fallback>
                <p:oleObj name="think-cell Slide" r:id="rId10" imgW="327" imgH="32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8DD2A3-FBD1-7DBE-6395-E00758945D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39BF7C-AD34-CCB1-0B8E-FA6B2FCB7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713" y="684213"/>
            <a:ext cx="17338675" cy="24844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0A7857-B7D9-87BC-24D0-6FCC535B6B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82713" y="3421063"/>
            <a:ext cx="17338675" cy="8154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A0099F-E6E6-FC44-31B7-C8E4061858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382713" y="11912600"/>
            <a:ext cx="4522787" cy="6842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F0CE7C2-D318-4E27-AFEC-B02B0188AA14}" type="datetimeFigureOut">
              <a:rPr lang="de-DE" smtClean="0"/>
              <a:t>18.03.2026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D694A4-DDB9-D9EC-4801-B46CD3C393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9563" y="11912600"/>
            <a:ext cx="6784975" cy="6842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697491-A49B-80D0-ADFC-98DCB3C4B0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198600" y="11912600"/>
            <a:ext cx="4522788" cy="6842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8B8288F-0294-44B7-8D6C-9CF112705EE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9273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0F92641-8FAF-C3FA-F3DE-1847A284B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44785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631" imgH="605" progId="TCLayout.ActiveDocument.1">
                  <p:embed/>
                </p:oleObj>
              </mc:Choice>
              <mc:Fallback>
                <p:oleObj name="think-cell Slide" r:id="rId16" imgW="631" imgH="6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F92641-8FAF-C3FA-F3DE-1847A284B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611112" y="1399683"/>
            <a:ext cx="11681460" cy="1282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250" b="0" i="0">
                <a:solidFill>
                  <a:srgbClr val="7A7C8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611112" y="2342062"/>
            <a:ext cx="13275944" cy="71050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250" b="0" i="0">
                <a:solidFill>
                  <a:srgbClr val="7A7C8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1952732"/>
            <a:ext cx="643331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JUSTICE WITHOUT LITIGATION II - ECONOMIC PART</a:t>
            </a:r>
            <a:endParaRPr lang="de-DE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611112" y="11906531"/>
            <a:ext cx="462394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12th March 2025 | Rome</a:t>
            </a:r>
            <a:endParaRPr lang="en-US"/>
          </a:p>
        </p:txBody>
      </p:sp>
      <p:sp>
        <p:nvSpPr>
          <p:cNvPr id="7" name="Holder 6">
            <a:extLst>
              <a:ext uri="{FF2B5EF4-FFF2-40B4-BE49-F238E27FC236}">
                <a16:creationId xmlns:a16="http://schemas.microsoft.com/office/drawing/2014/main" id="{4F2C762C-64F8-57AC-C454-015C061F68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88974" y="11937469"/>
            <a:ext cx="1047254" cy="223138"/>
          </a:xfrm>
          <a:prstGeom prst="rect">
            <a:avLst/>
          </a:prstGeom>
        </p:spPr>
        <p:txBody>
          <a:bodyPr lIns="0" tIns="0" rIns="0" bIns="0"/>
          <a:lstStyle>
            <a:lvl1pPr>
              <a:defRPr sz="1450" b="0" i="0">
                <a:solidFill>
                  <a:srgbClr val="A78A4C"/>
                </a:solidFill>
                <a:latin typeface="HelveticaNeue-Light"/>
                <a:cs typeface="HelveticaNeue-Light"/>
              </a:defRPr>
            </a:lvl1pPr>
          </a:lstStyle>
          <a:p>
            <a:pPr marL="38100">
              <a:lnSpc>
                <a:spcPct val="100000"/>
              </a:lnSpc>
              <a:spcBef>
                <a:spcPts val="85"/>
              </a:spcBef>
            </a:pPr>
            <a:fld id="{81D60167-4931-47E6-BA6A-407CBD079E47}" type="slidenum">
              <a:rPr spc="15"/>
              <a:t>‹#›</a:t>
            </a:fld>
            <a:endParaRPr spc="15" dirty="0"/>
          </a:p>
        </p:txBody>
      </p:sp>
    </p:spTree>
    <p:extLst>
      <p:ext uri="{BB962C8B-B14F-4D97-AF65-F5344CB8AC3E}">
        <p14:creationId xmlns:p14="http://schemas.microsoft.com/office/powerpoint/2010/main" val="84747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</p:sldLayoutIdLst>
  <p:hf hdr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23.png"/><Relationship Id="rId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24.png"/><Relationship Id="rId4" Type="http://schemas.openxmlformats.org/officeDocument/2006/relationships/image" Target="../media/image13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1199252-707F-B8D9-FD35-41385024DFC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2207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05" progId="TCLayout.ActiveDocument.1">
                  <p:embed/>
                </p:oleObj>
              </mc:Choice>
              <mc:Fallback>
                <p:oleObj name="think-cell Slide" r:id="rId4" imgW="631" imgH="6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199252-707F-B8D9-FD35-41385024D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95FA108-8F59-B4CC-B6FF-2F5CEE241D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12850" y="4276804"/>
            <a:ext cx="17088486" cy="2769989"/>
          </a:xfrm>
        </p:spPr>
        <p:txBody>
          <a:bodyPr vert="horz" rIns="0">
            <a:spAutoFit/>
          </a:bodyPr>
          <a:lstStyle/>
          <a:p>
            <a:r>
              <a:rPr lang="en-US" noProof="0" dirty="0"/>
              <a:t>Notaries, Amicable Divorce &amp; Mediation in Europe: Demand, Capability Gaps, and the Role of Behavioral Insights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3C1BCAF-5AEC-16EF-7B52-C790A06FA3A5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1212850" y="7645400"/>
            <a:ext cx="17088486" cy="1415772"/>
          </a:xfrm>
        </p:spPr>
        <p:txBody>
          <a:bodyPr/>
          <a:lstStyle/>
          <a:p>
            <a:r>
              <a:rPr lang="en-US" sz="3200" dirty="0"/>
              <a:t>Preliminary Findings based on the JuWiLi II Behavioral Survey</a:t>
            </a:r>
          </a:p>
          <a:p>
            <a:endParaRPr lang="en-GB" noProof="0" dirty="0"/>
          </a:p>
          <a:p>
            <a:r>
              <a:rPr lang="en-GB" noProof="0" dirty="0"/>
              <a:t>12</a:t>
            </a:r>
            <a:r>
              <a:rPr lang="en-GB" baseline="30000" noProof="0" dirty="0"/>
              <a:t>th</a:t>
            </a:r>
            <a:r>
              <a:rPr lang="en-GB" noProof="0" dirty="0"/>
              <a:t> of </a:t>
            </a:r>
            <a:r>
              <a:rPr lang="en-GB" dirty="0"/>
              <a:t>March</a:t>
            </a:r>
            <a:r>
              <a:rPr lang="en-GB" noProof="0" dirty="0"/>
              <a:t> 2026</a:t>
            </a:r>
          </a:p>
        </p:txBody>
      </p:sp>
    </p:spTree>
    <p:extLst>
      <p:ext uri="{BB962C8B-B14F-4D97-AF65-F5344CB8AC3E}">
        <p14:creationId xmlns:p14="http://schemas.microsoft.com/office/powerpoint/2010/main" val="1334892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A9C4A956-18BA-64CB-F3C1-2DC83FE5B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713" y="684213"/>
            <a:ext cx="17338675" cy="2484437"/>
          </a:xfrm>
        </p:spPr>
        <p:txBody>
          <a:bodyPr vert="horz" rIns="91440" anchor="ctr">
            <a:normAutofit/>
          </a:bodyPr>
          <a:lstStyle/>
          <a:p>
            <a:r>
              <a:rPr lang="en-US" dirty="0"/>
              <a:t>Training in amicable divorce handling varies widely across countri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A11CA00-9100-0C87-4AF6-93D91DB7D9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6964" y="3421063"/>
            <a:ext cx="15990173" cy="8154987"/>
          </a:xfrm>
          <a:prstGeom prst="rect">
            <a:avLst/>
          </a:prstGeom>
          <a:noFill/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A808263-9F70-AF79-F5F1-0575E95AD2C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3380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05" progId="TCLayout.ActiveDocument.1">
                  <p:embed/>
                </p:oleObj>
              </mc:Choice>
              <mc:Fallback>
                <p:oleObj name="think-cell Slide" r:id="rId4" imgW="631" imgH="6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808263-9F70-AF79-F5F1-0575E95AD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CF2784-9FFC-1EC5-9AC1-6264A6B253A3}"/>
              </a:ext>
            </a:extLst>
          </p:cNvPr>
          <p:cNvSpPr txBox="1"/>
          <p:nvPr/>
        </p:nvSpPr>
        <p:spPr>
          <a:xfrm>
            <a:off x="2430569" y="11684048"/>
            <a:ext cx="14325600" cy="6719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rvey implementation:</a:t>
            </a:r>
            <a:b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Do you consider yourself well-trained to handle couples seeking an amicable divorce?”</a:t>
            </a:r>
          </a:p>
        </p:txBody>
      </p:sp>
    </p:spTree>
    <p:extLst>
      <p:ext uri="{BB962C8B-B14F-4D97-AF65-F5344CB8AC3E}">
        <p14:creationId xmlns:p14="http://schemas.microsoft.com/office/powerpoint/2010/main" val="13200507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2FCB42E-1AE4-EC48-8DEB-242CEF7843B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615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FCB42E-1AE4-EC48-8DEB-242CEF7843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2713" y="1573610"/>
            <a:ext cx="17338675" cy="705642"/>
          </a:xfrm>
        </p:spPr>
        <p:txBody>
          <a:bodyPr vert="horz" rIns="0">
            <a:spAutoFit/>
          </a:bodyPr>
          <a:lstStyle/>
          <a:p>
            <a:r>
              <a:rPr lang="de-DE" b="1" dirty="0" err="1">
                <a:solidFill>
                  <a:srgbClr val="A78A4C"/>
                </a:solidFill>
              </a:rPr>
              <a:t>Amicable</a:t>
            </a:r>
            <a:r>
              <a:rPr lang="de-DE" b="1" dirty="0">
                <a:solidFill>
                  <a:srgbClr val="A78A4C"/>
                </a:solidFill>
              </a:rPr>
              <a:t> </a:t>
            </a:r>
            <a:r>
              <a:rPr lang="de-DE" b="1" dirty="0" err="1">
                <a:solidFill>
                  <a:srgbClr val="A78A4C"/>
                </a:solidFill>
              </a:rPr>
              <a:t>Divorce</a:t>
            </a:r>
            <a:endParaRPr lang="de-DE" b="1" dirty="0">
              <a:solidFill>
                <a:srgbClr val="A78A4C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dirty="0"/>
              <a:t>Broad support, uneven adoption: </a:t>
            </a:r>
            <a:r>
              <a:rPr lang="en-US" sz="4000" b="1" dirty="0"/>
              <a:t>Over 72% </a:t>
            </a:r>
            <a:r>
              <a:rPr lang="en-US" sz="4000" dirty="0"/>
              <a:t>of notaries </a:t>
            </a:r>
            <a:r>
              <a:rPr lang="en-US" sz="4000" b="1" dirty="0"/>
              <a:t>support amicable divorce</a:t>
            </a:r>
            <a:r>
              <a:rPr lang="en-US" sz="4000" dirty="0"/>
              <a:t>, but support levels vary strongly by country</a:t>
            </a:r>
          </a:p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b="1" dirty="0"/>
              <a:t>Potential capability gap</a:t>
            </a:r>
            <a:r>
              <a:rPr lang="en-US" sz="4000" dirty="0"/>
              <a:t>: Self-reported training in handling amicable divorces is highly uneven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1F2A93C5-FDEB-E743-C91D-29441947D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713" y="684213"/>
            <a:ext cx="17338675" cy="2484437"/>
          </a:xfrm>
        </p:spPr>
        <p:txBody>
          <a:bodyPr vert="horz" rIns="91440" anchor="ctr">
            <a:normAutofit/>
          </a:bodyPr>
          <a:lstStyle/>
          <a:p>
            <a:r>
              <a:rPr lang="en-US" dirty="0"/>
              <a:t>Only 22% of notaries state to offer mediation services, i.e., 78% currently do no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25DF96B-5C33-86AC-C17D-A0A8AF2E4E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6964" y="3421063"/>
            <a:ext cx="15990173" cy="8154987"/>
          </a:xfrm>
          <a:prstGeom prst="rect">
            <a:avLst/>
          </a:prstGeom>
          <a:noFill/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D4C843C-3782-B6FE-63DA-76EC7129835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4164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05" progId="TCLayout.ActiveDocument.1">
                  <p:embed/>
                </p:oleObj>
              </mc:Choice>
              <mc:Fallback>
                <p:oleObj name="think-cell Slide" r:id="rId4" imgW="631" imgH="6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4C843C-3782-B6FE-63DA-76EC712983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BC23422-FAA0-A4B3-54F3-ABAC66A8A14A}"/>
              </a:ext>
            </a:extLst>
          </p:cNvPr>
          <p:cNvSpPr txBox="1"/>
          <p:nvPr/>
        </p:nvSpPr>
        <p:spPr>
          <a:xfrm>
            <a:off x="2430569" y="11684048"/>
            <a:ext cx="14325600" cy="6719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rvey implementation:</a:t>
            </a:r>
            <a:b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Do you personally offer mediation services?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05681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06682BBD-BB12-D498-5B30-AD48ED751E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713" y="684213"/>
            <a:ext cx="17338675" cy="2484437"/>
          </a:xfrm>
        </p:spPr>
        <p:txBody>
          <a:bodyPr vert="horz" rIns="91440" anchor="ctr">
            <a:normAutofit/>
          </a:bodyPr>
          <a:lstStyle/>
          <a:p>
            <a:r>
              <a:rPr lang="en-US" dirty="0"/>
              <a:t>Notaries estimate that about 21% of all notaries in their country offer mediation servic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F95B067-1498-63D7-5001-AD27038238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6964" y="3421063"/>
            <a:ext cx="15990173" cy="8154987"/>
          </a:xfrm>
          <a:prstGeom prst="rect">
            <a:avLst/>
          </a:prstGeom>
          <a:noFill/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7A5B112-1E8F-4718-3D92-F929B50BCFB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6960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05" progId="TCLayout.ActiveDocument.1">
                  <p:embed/>
                </p:oleObj>
              </mc:Choice>
              <mc:Fallback>
                <p:oleObj name="think-cell Slide" r:id="rId4" imgW="631" imgH="6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A5B112-1E8F-4718-3D92-F929B50BC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8A4420A-1249-B549-4F95-DF7CE0C608F4}"/>
              </a:ext>
            </a:extLst>
          </p:cNvPr>
          <p:cNvSpPr txBox="1"/>
          <p:nvPr/>
        </p:nvSpPr>
        <p:spPr>
          <a:xfrm>
            <a:off x="2430569" y="11684048"/>
            <a:ext cx="14325600" cy="6719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rvey implementation:</a:t>
            </a:r>
            <a:b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What percentage of notaries in your country do you estimate offer mediation services?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9662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57DB1A-EC4D-FF91-CF3C-F668C37F9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713" y="684213"/>
            <a:ext cx="17338675" cy="2484437"/>
          </a:xfrm>
        </p:spPr>
        <p:txBody>
          <a:bodyPr vert="horz" rIns="91440" anchor="ctr">
            <a:normAutofit/>
          </a:bodyPr>
          <a:lstStyle/>
          <a:p>
            <a:r>
              <a:rPr lang="de-DE" dirty="0"/>
              <a:t>Overall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stimation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many</a:t>
            </a:r>
            <a:r>
              <a:rPr lang="de-DE" dirty="0"/>
              <a:t> </a:t>
            </a:r>
            <a:r>
              <a:rPr lang="de-DE" dirty="0" err="1"/>
              <a:t>notaries</a:t>
            </a:r>
            <a:r>
              <a:rPr lang="de-DE" dirty="0"/>
              <a:t> </a:t>
            </a:r>
            <a:r>
              <a:rPr lang="de-DE" dirty="0" err="1"/>
              <a:t>offer</a:t>
            </a:r>
            <a:r>
              <a:rPr lang="de-DE" dirty="0"/>
              <a:t> </a:t>
            </a:r>
            <a:r>
              <a:rPr lang="de-DE" dirty="0" err="1"/>
              <a:t>mediation</a:t>
            </a:r>
            <a:r>
              <a:rPr lang="de-DE" dirty="0"/>
              <a:t> </a:t>
            </a:r>
            <a:r>
              <a:rPr lang="de-DE" dirty="0" err="1"/>
              <a:t>service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lmost</a:t>
            </a:r>
            <a:r>
              <a:rPr lang="de-DE" dirty="0"/>
              <a:t> on </a:t>
            </a:r>
            <a:r>
              <a:rPr lang="de-DE" dirty="0" err="1"/>
              <a:t>point</a:t>
            </a:r>
            <a:r>
              <a:rPr lang="de-DE" dirty="0"/>
              <a:t> (22% vs. 21%), BUT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huge</a:t>
            </a:r>
            <a:r>
              <a:rPr lang="de-DE" dirty="0"/>
              <a:t> </a:t>
            </a:r>
            <a:r>
              <a:rPr lang="de-DE" dirty="0" err="1"/>
              <a:t>differences</a:t>
            </a:r>
            <a:r>
              <a:rPr lang="de-DE" dirty="0"/>
              <a:t> </a:t>
            </a:r>
            <a:r>
              <a:rPr lang="de-DE" dirty="0" err="1"/>
              <a:t>across</a:t>
            </a:r>
            <a:r>
              <a:rPr lang="de-DE" dirty="0"/>
              <a:t> countri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E8DF8B7-9EA0-CA8D-C509-D0875551B5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6964" y="3421063"/>
            <a:ext cx="15990173" cy="8154987"/>
          </a:xfrm>
          <a:prstGeom prst="rect">
            <a:avLst/>
          </a:prstGeom>
          <a:noFill/>
        </p:spPr>
      </p:pic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C831696-109E-29F7-E8A7-018E5FBCAB4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9017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05" progId="TCLayout.ActiveDocument.1">
                  <p:embed/>
                </p:oleObj>
              </mc:Choice>
              <mc:Fallback>
                <p:oleObj name="think-cell Slide" r:id="rId4" imgW="631" imgH="6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831696-109E-29F7-E8A7-018E5FBCAB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ight Brace 14">
            <a:extLst>
              <a:ext uri="{FF2B5EF4-FFF2-40B4-BE49-F238E27FC236}">
                <a16:creationId xmlns:a16="http://schemas.microsoft.com/office/drawing/2014/main" id="{66346C8F-1580-1A5A-DFB8-DE1F168254A4}"/>
              </a:ext>
            </a:extLst>
          </p:cNvPr>
          <p:cNvSpPr>
            <a:spLocks/>
          </p:cNvSpPr>
          <p:nvPr/>
        </p:nvSpPr>
        <p:spPr>
          <a:xfrm rot="5400000">
            <a:off x="7696178" y="4360182"/>
            <a:ext cx="304801" cy="8475436"/>
          </a:xfrm>
          <a:prstGeom prst="rightBrace">
            <a:avLst>
              <a:gd name="adj1" fmla="val 83333"/>
              <a:gd name="adj2" fmla="val 5000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ight Brace 15">
            <a:extLst>
              <a:ext uri="{FF2B5EF4-FFF2-40B4-BE49-F238E27FC236}">
                <a16:creationId xmlns:a16="http://schemas.microsoft.com/office/drawing/2014/main" id="{D3228229-3FEE-9432-95EF-F862EB2A770E}"/>
              </a:ext>
            </a:extLst>
          </p:cNvPr>
          <p:cNvSpPr>
            <a:spLocks/>
          </p:cNvSpPr>
          <p:nvPr/>
        </p:nvSpPr>
        <p:spPr>
          <a:xfrm rot="16200000" flipV="1">
            <a:off x="15040190" y="5280239"/>
            <a:ext cx="304801" cy="4654117"/>
          </a:xfrm>
          <a:prstGeom prst="rightBrace">
            <a:avLst>
              <a:gd name="adj1" fmla="val 83333"/>
              <a:gd name="adj2" fmla="val 5000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5BA6389-96B4-9E4F-9DBD-D91E1E09EBA7}"/>
              </a:ext>
            </a:extLst>
          </p:cNvPr>
          <p:cNvSpPr>
            <a:spLocks/>
          </p:cNvSpPr>
          <p:nvPr/>
        </p:nvSpPr>
        <p:spPr>
          <a:xfrm>
            <a:off x="5257779" y="8848728"/>
            <a:ext cx="5181600" cy="83819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UNDERestima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por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notaries</a:t>
            </a:r>
            <a:r>
              <a:rPr lang="de-DE" dirty="0"/>
              <a:t> </a:t>
            </a:r>
            <a:r>
              <a:rPr lang="de-DE" dirty="0" err="1"/>
              <a:t>offering</a:t>
            </a:r>
            <a:r>
              <a:rPr lang="de-DE" dirty="0"/>
              <a:t> </a:t>
            </a:r>
            <a:r>
              <a:rPr lang="de-DE" dirty="0" err="1"/>
              <a:t>mediation</a:t>
            </a:r>
            <a:r>
              <a:rPr lang="de-DE" dirty="0"/>
              <a:t> </a:t>
            </a:r>
            <a:r>
              <a:rPr lang="de-DE" dirty="0" err="1"/>
              <a:t>services</a:t>
            </a:r>
            <a:endParaRPr lang="de-DE" dirty="0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3E585A9C-34A5-32B6-63BB-450E876C5588}"/>
              </a:ext>
            </a:extLst>
          </p:cNvPr>
          <p:cNvSpPr>
            <a:spLocks/>
          </p:cNvSpPr>
          <p:nvPr/>
        </p:nvSpPr>
        <p:spPr>
          <a:xfrm>
            <a:off x="12601790" y="6426200"/>
            <a:ext cx="5181600" cy="83819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OVERestima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por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notaries</a:t>
            </a:r>
            <a:r>
              <a:rPr lang="de-DE" dirty="0"/>
              <a:t> </a:t>
            </a:r>
            <a:r>
              <a:rPr lang="de-DE" dirty="0" err="1"/>
              <a:t>offering</a:t>
            </a:r>
            <a:r>
              <a:rPr lang="de-DE" dirty="0"/>
              <a:t> </a:t>
            </a:r>
            <a:r>
              <a:rPr lang="de-DE" dirty="0" err="1"/>
              <a:t>mediation</a:t>
            </a:r>
            <a:r>
              <a:rPr lang="de-DE" dirty="0"/>
              <a:t> </a:t>
            </a:r>
            <a:r>
              <a:rPr lang="de-DE" dirty="0" err="1"/>
              <a:t>servi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69563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EBE773E-23F6-C861-4D2E-7D710183B33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013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05" progId="TCLayout.ActiveDocument.1">
                  <p:embed/>
                </p:oleObj>
              </mc:Choice>
              <mc:Fallback>
                <p:oleObj name="think-cell Slide" r:id="rId4" imgW="631" imgH="6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BE773E-23F6-C861-4D2E-7D710183B3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DE" b="1" dirty="0">
                <a:solidFill>
                  <a:srgbClr val="A78A4C"/>
                </a:solidFill>
              </a:rPr>
              <a:t>Mediation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b="1" dirty="0"/>
              <a:t>Mediation is still niche among notaries</a:t>
            </a:r>
            <a:r>
              <a:rPr lang="en-US" sz="4000" dirty="0"/>
              <a:t>: Only ~22% of respondents say they personally offer mediation services (≈ 78% do not), with substantial cross-country variation.</a:t>
            </a:r>
          </a:p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dirty="0"/>
              <a:t>Perceived market penetration is similar on average: Respondents estimate that ~21% of notaries in their country offer mediation</a:t>
            </a:r>
          </a:p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dirty="0"/>
              <a:t>But </a:t>
            </a:r>
            <a:r>
              <a:rPr lang="en-US" sz="4000" b="1" dirty="0"/>
              <a:t>perceptions diverge sharply by country</a:t>
            </a:r>
            <a:r>
              <a:rPr lang="en-US" sz="4000" dirty="0"/>
              <a:t>: The perception gap swings strongly positive and negative depending on the country - some overestimate how common mediation is, while others underestimate, indicating uneven awareness/visibility of mediation services across markets.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088D0A5-EFA1-672C-E4C3-76ED492DCCC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8048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05" progId="TCLayout.ActiveDocument.1">
                  <p:embed/>
                </p:oleObj>
              </mc:Choice>
              <mc:Fallback>
                <p:oleObj name="think-cell Slide" r:id="rId4" imgW="631" imgH="6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88D0A5-EFA1-672C-E4C3-76ED492DCC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EB9672-47BC-1872-6A97-C590F57E1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DE" b="1" dirty="0">
                <a:solidFill>
                  <a:srgbClr val="A78A4C"/>
                </a:solidFill>
              </a:rPr>
              <a:t>The </a:t>
            </a:r>
            <a:r>
              <a:rPr lang="de-DE" b="1" dirty="0" err="1">
                <a:solidFill>
                  <a:srgbClr val="A78A4C"/>
                </a:solidFill>
              </a:rPr>
              <a:t>actual</a:t>
            </a:r>
            <a:r>
              <a:rPr lang="de-DE" b="1" dirty="0">
                <a:solidFill>
                  <a:srgbClr val="A78A4C"/>
                </a:solidFill>
              </a:rPr>
              <a:t> </a:t>
            </a:r>
            <a:r>
              <a:rPr lang="de-DE" b="1" dirty="0" err="1">
                <a:solidFill>
                  <a:srgbClr val="A78A4C"/>
                </a:solidFill>
              </a:rPr>
              <a:t>questions</a:t>
            </a:r>
            <a:r>
              <a:rPr lang="de-DE" b="1" dirty="0">
                <a:solidFill>
                  <a:srgbClr val="A78A4C"/>
                </a:solidFill>
              </a:rPr>
              <a:t> </a:t>
            </a:r>
            <a:r>
              <a:rPr lang="de-DE" b="1" dirty="0" err="1">
                <a:solidFill>
                  <a:srgbClr val="A78A4C"/>
                </a:solidFill>
              </a:rPr>
              <a:t>asked</a:t>
            </a:r>
            <a:endParaRPr lang="de-DE" b="1" dirty="0">
              <a:solidFill>
                <a:srgbClr val="A78A4C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B3B65E-61CD-83FD-6A1C-1CC86689D4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Aft>
                <a:spcPts val="1200"/>
              </a:spcAft>
              <a:buClr>
                <a:srgbClr val="C00000"/>
              </a:buClr>
              <a:buNone/>
            </a:pPr>
            <a:r>
              <a:rPr lang="en-US" sz="4000" b="1" dirty="0"/>
              <a:t>To what extent do you believe the outcome of an amicable divorce can be influenced by</a:t>
            </a:r>
          </a:p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dirty="0"/>
              <a:t>psychological framing?</a:t>
            </a:r>
            <a:endParaRPr lang="de-DE" sz="4000" dirty="0"/>
          </a:p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dirty="0"/>
              <a:t>suggesting an objectively reasonable proposal for asset division as a starting point?</a:t>
            </a:r>
            <a:endParaRPr lang="de-DE" sz="4000" dirty="0"/>
          </a:p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dirty="0"/>
              <a:t>presenting examples of how other couples have successfully navigated their amicable divorces?</a:t>
            </a:r>
            <a:endParaRPr lang="de-DE" sz="4000" dirty="0"/>
          </a:p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dirty="0"/>
              <a:t>demonstrating empathy and active listening towards both parties?</a:t>
            </a:r>
            <a:endParaRPr lang="de-DE" sz="4000" dirty="0"/>
          </a:p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dirty="0"/>
              <a:t>actively proposing a future-oriented approach to avoid dwelling on past conflicts?</a:t>
            </a:r>
            <a:endParaRPr lang="de-DE" sz="4000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53775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4055CE5-9CB6-F091-0C30-88C52EFD6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713" y="684213"/>
            <a:ext cx="17338675" cy="2484437"/>
          </a:xfrm>
        </p:spPr>
        <p:txBody>
          <a:bodyPr vert="horz" rIns="91440" anchor="ctr">
            <a:normAutofit/>
          </a:bodyPr>
          <a:lstStyle/>
          <a:p>
            <a:r>
              <a:rPr lang="en-US" dirty="0"/>
              <a:t>The expected impact of behavioral interventions is quite high, with some variation depending on the meas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F97A232-7B34-7657-B105-17AD642DB9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6964" y="3421063"/>
            <a:ext cx="15990173" cy="8154987"/>
          </a:xfrm>
          <a:prstGeom prst="rect">
            <a:avLst/>
          </a:prstGeom>
          <a:noFill/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F9FC5E8-555D-3B27-8D97-269D30D01ED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285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9FC5E8-555D-3B27-8D97-269D30D01E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184971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418AB3A1-A0CB-FDFE-8B8E-133D22851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713" y="684213"/>
            <a:ext cx="17338675" cy="2484437"/>
          </a:xfrm>
        </p:spPr>
        <p:txBody>
          <a:bodyPr vert="horz" rIns="91440" anchor="ctr">
            <a:normAutofit/>
          </a:bodyPr>
          <a:lstStyle/>
          <a:p>
            <a:r>
              <a:rPr lang="en-US" dirty="0"/>
              <a:t>Two thirds of notaries are interested in learning more about how to apply behavioral insight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B0939F-AEF4-73DE-17AB-FB635400FF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6964" y="3421063"/>
            <a:ext cx="15990173" cy="8154987"/>
          </a:xfrm>
          <a:prstGeom prst="rect">
            <a:avLst/>
          </a:prstGeom>
          <a:noFill/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78CE303-19BC-F67B-8E1C-EFCB7F3B5D7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0751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8CE303-19BC-F67B-8E1C-EFCB7F3B5D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2EF5117-1A84-FD67-182C-BF521D869ED8}"/>
              </a:ext>
            </a:extLst>
          </p:cNvPr>
          <p:cNvSpPr txBox="1"/>
          <p:nvPr/>
        </p:nvSpPr>
        <p:spPr>
          <a:xfrm>
            <a:off x="2430569" y="11684048"/>
            <a:ext cx="14325600" cy="6719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rvey implementation:</a:t>
            </a:r>
            <a:b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Would you like to learn more about how to apply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havioural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sights in your professional environment?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72471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D48BAF42-EB3E-A430-1D80-41A4A0E25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713" y="684213"/>
            <a:ext cx="17338675" cy="2484437"/>
          </a:xfrm>
        </p:spPr>
        <p:txBody>
          <a:bodyPr vert="horz" rIns="91440" anchor="ctr">
            <a:normAutofit/>
          </a:bodyPr>
          <a:lstStyle/>
          <a:p>
            <a:r>
              <a:rPr lang="en-US" dirty="0"/>
              <a:t>Most respondents want to learn via chamber-led voluntary training, with limited interest in mandatory program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EE0B047-883C-2247-FFAF-E4252E0EF3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6964" y="3421063"/>
            <a:ext cx="15990173" cy="8154987"/>
          </a:xfrm>
          <a:prstGeom prst="rect">
            <a:avLst/>
          </a:prstGeom>
          <a:noFill/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7B88281-0F78-8E4F-176D-E33A6B2A71B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6123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B88281-0F78-8E4F-176D-E33A6B2A7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630797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984CD41-0C42-E071-AFEA-ABC28E54F22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039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84CD41-0C42-E071-AFEA-ABC28E54F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2713" y="684213"/>
            <a:ext cx="17338675" cy="2484437"/>
          </a:xfrm>
        </p:spPr>
        <p:txBody>
          <a:bodyPr vert="horz" rIns="91440"/>
          <a:lstStyle/>
          <a:p>
            <a:r>
              <a:rPr lang="de-DE" b="1" dirty="0" err="1">
                <a:solidFill>
                  <a:srgbClr val="A78A4C"/>
                </a:solidFill>
              </a:rPr>
              <a:t>Why</a:t>
            </a:r>
            <a:r>
              <a:rPr lang="de-DE" b="1" dirty="0">
                <a:solidFill>
                  <a:srgbClr val="A78A4C"/>
                </a:solidFill>
              </a:rPr>
              <a:t> </a:t>
            </a:r>
            <a:r>
              <a:rPr lang="de-DE" b="1" dirty="0" err="1">
                <a:solidFill>
                  <a:srgbClr val="A78A4C"/>
                </a:solidFill>
              </a:rPr>
              <a:t>this</a:t>
            </a:r>
            <a:r>
              <a:rPr lang="de-DE" b="1" dirty="0">
                <a:solidFill>
                  <a:srgbClr val="A78A4C"/>
                </a:solidFill>
              </a:rPr>
              <a:t> </a:t>
            </a:r>
            <a:r>
              <a:rPr lang="de-DE" b="1" dirty="0" err="1">
                <a:solidFill>
                  <a:srgbClr val="A78A4C"/>
                </a:solidFill>
              </a:rPr>
              <a:t>survey</a:t>
            </a:r>
            <a:r>
              <a:rPr lang="de-DE" b="1" dirty="0">
                <a:solidFill>
                  <a:srgbClr val="A78A4C"/>
                </a:solidFill>
              </a:rPr>
              <a:t>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1382713" y="3421063"/>
            <a:ext cx="17338675" cy="8154987"/>
          </a:xfrm>
        </p:spPr>
        <p:txBody>
          <a:bodyPr anchor="t"/>
          <a:lstStyle/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b="1" dirty="0"/>
              <a:t>Build an evidence base across countries: </a:t>
            </a:r>
            <a:r>
              <a:rPr lang="en-US" sz="4000" dirty="0"/>
              <a:t>Quantify notaries’ current roles, perceptions, and service provision (amicable divorce, mediation) and compare cross-country differences to understand where adoption is already strong vs. where additional potential exists.</a:t>
            </a:r>
          </a:p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b="1" dirty="0"/>
              <a:t>Identify actionable levers for scaling impact: </a:t>
            </a:r>
            <a:r>
              <a:rPr lang="en-US" sz="4000" dirty="0"/>
              <a:t>Pinpoint capability/training needs, perception gaps, and interest in behavioral-insight interventions to inform targeted programs (e.g., chamber-led training, standards, pilots) and prioritize next steps.</a:t>
            </a:r>
          </a:p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b="1" dirty="0"/>
              <a:t>Derive actional policy recommendation: </a:t>
            </a:r>
            <a:r>
              <a:rPr lang="en-US" sz="4000" dirty="0"/>
              <a:t>(</a:t>
            </a:r>
            <a:r>
              <a:rPr lang="en-US" sz="4000" dirty="0">
                <a:sym typeface="Wingdings" panose="05000000000000000000" pitchFamily="2" charset="2"/>
              </a:rPr>
              <a:t> JuWiLi II Behavioral study, Q3/26)</a:t>
            </a:r>
            <a:endParaRPr lang="en-US" sz="4000"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3A2E700-DA13-9C84-A9C2-72F6FB57C86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05" progId="TCLayout.ActiveDocument.1">
                  <p:embed/>
                </p:oleObj>
              </mc:Choice>
              <mc:Fallback>
                <p:oleObj name="think-cell Slide" r:id="rId4" imgW="631" imgH="6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A2E700-DA13-9C84-A9C2-72F6FB57C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DE" b="1" dirty="0" err="1">
                <a:solidFill>
                  <a:srgbClr val="A78A4C"/>
                </a:solidFill>
              </a:rPr>
              <a:t>Attitudes</a:t>
            </a:r>
            <a:r>
              <a:rPr lang="de-DE" b="1" dirty="0">
                <a:solidFill>
                  <a:srgbClr val="A78A4C"/>
                </a:solidFill>
              </a:rPr>
              <a:t> </a:t>
            </a:r>
            <a:r>
              <a:rPr lang="de-DE" b="1" dirty="0" err="1">
                <a:solidFill>
                  <a:srgbClr val="A78A4C"/>
                </a:solidFill>
              </a:rPr>
              <a:t>towards</a:t>
            </a:r>
            <a:r>
              <a:rPr lang="de-DE" b="1" dirty="0">
                <a:solidFill>
                  <a:srgbClr val="A78A4C"/>
                </a:solidFill>
              </a:rPr>
              <a:t> Behavioral </a:t>
            </a:r>
            <a:r>
              <a:rPr lang="de-DE" b="1" dirty="0" err="1">
                <a:solidFill>
                  <a:srgbClr val="A78A4C"/>
                </a:solidFill>
              </a:rPr>
              <a:t>Interventions</a:t>
            </a:r>
            <a:endParaRPr lang="de-DE" b="1" dirty="0">
              <a:solidFill>
                <a:srgbClr val="A78A4C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dirty="0"/>
              <a:t>Behavioral interventions are </a:t>
            </a:r>
            <a:r>
              <a:rPr lang="en-US" sz="4000" b="1" dirty="0"/>
              <a:t>expected to have strong impact</a:t>
            </a:r>
            <a:r>
              <a:rPr lang="en-US" sz="4000" dirty="0"/>
              <a:t>: Ratings are consistently high across measures</a:t>
            </a:r>
          </a:p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dirty="0"/>
              <a:t>Clear appetite to </a:t>
            </a:r>
            <a:r>
              <a:rPr lang="en-US" sz="4000" b="1" dirty="0"/>
              <a:t>build capability</a:t>
            </a:r>
            <a:r>
              <a:rPr lang="en-US" sz="4000" dirty="0"/>
              <a:t>: About two thirds of notaries want to learn more about applying behavioral insights</a:t>
            </a:r>
          </a:p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dirty="0"/>
              <a:t>Preferred learning format is </a:t>
            </a:r>
            <a:r>
              <a:rPr lang="en-US" sz="4000" b="1" dirty="0"/>
              <a:t>voluntary and chamber-led</a:t>
            </a:r>
            <a:r>
              <a:rPr lang="en-US" sz="4000" dirty="0"/>
              <a:t>, with little acceptance for compulsory formats</a:t>
            </a:r>
          </a:p>
        </p:txBody>
      </p:sp>
    </p:spTree>
    <p:extLst>
      <p:ext uri="{BB962C8B-B14F-4D97-AF65-F5344CB8AC3E}">
        <p14:creationId xmlns:p14="http://schemas.microsoft.com/office/powerpoint/2010/main" val="14183711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AE0EC73-E8C8-8D5D-4FF0-269FBCE706B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551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05" progId="TCLayout.ActiveDocument.1">
                  <p:embed/>
                </p:oleObj>
              </mc:Choice>
              <mc:Fallback>
                <p:oleObj name="think-cell Slide" r:id="rId4" imgW="631" imgH="6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E0EC73-E8C8-8D5D-4FF0-269FBCE706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GB" b="1" noProof="0" dirty="0">
                <a:solidFill>
                  <a:srgbClr val="A78A4C"/>
                </a:solidFill>
              </a:rPr>
              <a:t>Conclusion</a:t>
            </a:r>
            <a:r>
              <a:rPr lang="de-DE" b="1" dirty="0">
                <a:solidFill>
                  <a:srgbClr val="A78A4C"/>
                </a:solidFill>
              </a:rPr>
              <a:t> &amp; Outloo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b="1" dirty="0"/>
              <a:t>Strong mandate, uneven readiness: </a:t>
            </a:r>
            <a:r>
              <a:rPr lang="en-US" sz="4000" dirty="0"/>
              <a:t>Notaries are widely seen as more trustworthy, reliable, and punctual than courts/solicitors, and there is broad support for amicable divorce, but capabilities/training vary sharply by country, suggesting a scalability gap.</a:t>
            </a:r>
          </a:p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b="1" dirty="0"/>
              <a:t>Mediation remains underused </a:t>
            </a:r>
            <a:r>
              <a:rPr lang="en-US" sz="4000" dirty="0"/>
              <a:t>and inconsistently understood: Only 1 in 5 notaries report offering mediation, and while the overall perceived penetration is roughly accurate, country-level perception gaps are large, pointing to uneven visibility, awareness, or market structure.</a:t>
            </a:r>
          </a:p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b="1" dirty="0"/>
              <a:t>Behavioral insights look high-impact with clear demand for upskilling</a:t>
            </a:r>
            <a:r>
              <a:rPr lang="en-US" sz="4000" dirty="0"/>
              <a:t>: Expected impact scores are consistently high, two-thirds want to learn more, and the preferred route is voluntary, chamber-led training (with certification as a secondary option).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957A419-13BE-930C-44C7-0266ECAA0EF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4707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57A419-13BE-930C-44C7-0266ECAA0E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b="1" dirty="0">
                <a:solidFill>
                  <a:srgbClr val="A78A4C"/>
                </a:solidFill>
              </a:rPr>
              <a:t>Who responded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>
              <a:lnSpc>
                <a:spcPct val="100000"/>
              </a:lnSpc>
              <a:spcAft>
                <a:spcPts val="1200"/>
              </a:spcAft>
              <a:buClr>
                <a:srgbClr val="C00000"/>
              </a:buClr>
            </a:pPr>
            <a:r>
              <a:rPr lang="en-US" sz="4000" b="1" dirty="0"/>
              <a:t>1657 </a:t>
            </a:r>
            <a:r>
              <a:rPr lang="en-US" sz="4000" dirty="0"/>
              <a:t>notaries / notary candidates responded </a:t>
            </a:r>
            <a:r>
              <a:rPr lang="en-US" sz="4000" b="1" dirty="0"/>
              <a:t>across 22 countries</a:t>
            </a:r>
          </a:p>
          <a:p>
            <a:pPr>
              <a:lnSpc>
                <a:spcPct val="100000"/>
              </a:lnSpc>
              <a:spcAft>
                <a:spcPts val="1200"/>
              </a:spcAft>
              <a:buClr>
                <a:srgbClr val="C00000"/>
              </a:buClr>
            </a:pPr>
            <a:r>
              <a:rPr lang="en-US" sz="4000" b="1" dirty="0"/>
              <a:t>Average age is 47</a:t>
            </a:r>
            <a:r>
              <a:rPr lang="en-US" sz="4000" dirty="0"/>
              <a:t>, with most respondents in the mid-30s to mid-50s</a:t>
            </a:r>
          </a:p>
          <a:p>
            <a:pPr>
              <a:lnSpc>
                <a:spcPct val="100000"/>
              </a:lnSpc>
              <a:spcAft>
                <a:spcPts val="1200"/>
              </a:spcAft>
              <a:buClr>
                <a:srgbClr val="C00000"/>
              </a:buClr>
            </a:pPr>
            <a:r>
              <a:rPr lang="en-US" sz="4000" dirty="0"/>
              <a:t>Overall split is </a:t>
            </a:r>
            <a:r>
              <a:rPr lang="en-US" sz="4000" b="1" dirty="0"/>
              <a:t>~49% male / ~50% female</a:t>
            </a:r>
            <a:endParaRPr lang="de-AT" dirty="0"/>
          </a:p>
          <a:p>
            <a:pPr marL="0" indent="0">
              <a:buNone/>
            </a:pPr>
            <a:endParaRPr lang="de-AT" dirty="0"/>
          </a:p>
          <a:p>
            <a:pPr marL="0" indent="0">
              <a:buNone/>
            </a:pPr>
            <a:endParaRPr lang="de-AT" dirty="0"/>
          </a:p>
          <a:p>
            <a:pPr marL="0" indent="0">
              <a:buNone/>
            </a:pPr>
            <a:r>
              <a:rPr lang="de-AT" i="1" dirty="0"/>
              <a:t>Disclaimer: </a:t>
            </a:r>
            <a:br>
              <a:rPr lang="de-AT" dirty="0"/>
            </a:br>
            <a:r>
              <a:rPr lang="de-AT" dirty="0" err="1"/>
              <a:t>unless</a:t>
            </a:r>
            <a:r>
              <a:rPr lang="de-AT" dirty="0"/>
              <a:t> </a:t>
            </a:r>
            <a:r>
              <a:rPr lang="de-AT" dirty="0" err="1"/>
              <a:t>otherwise</a:t>
            </a:r>
            <a:r>
              <a:rPr lang="de-AT" dirty="0"/>
              <a:t> </a:t>
            </a:r>
            <a:r>
              <a:rPr lang="de-AT" dirty="0" err="1"/>
              <a:t>stated</a:t>
            </a:r>
            <a:r>
              <a:rPr lang="de-AT" dirty="0"/>
              <a:t>, </a:t>
            </a:r>
            <a:r>
              <a:rPr lang="de-AT" dirty="0" err="1"/>
              <a:t>missing</a:t>
            </a:r>
            <a:r>
              <a:rPr lang="de-AT" dirty="0"/>
              <a:t> </a:t>
            </a:r>
            <a:r>
              <a:rPr lang="de-AT" dirty="0" err="1"/>
              <a:t>values</a:t>
            </a:r>
            <a:r>
              <a:rPr lang="de-AT" dirty="0"/>
              <a:t> in </a:t>
            </a:r>
            <a:r>
              <a:rPr lang="de-AT" dirty="0" err="1"/>
              <a:t>the</a:t>
            </a:r>
            <a:r>
              <a:rPr lang="de-AT" dirty="0"/>
              <a:t> </a:t>
            </a:r>
            <a:r>
              <a:rPr lang="de-AT" dirty="0" err="1"/>
              <a:t>survey</a:t>
            </a:r>
            <a:r>
              <a:rPr lang="de-AT" dirty="0"/>
              <a:t> </a:t>
            </a:r>
            <a:r>
              <a:rPr lang="de-AT" dirty="0" err="1"/>
              <a:t>responses</a:t>
            </a:r>
            <a:r>
              <a:rPr lang="de-AT" dirty="0"/>
              <a:t> </a:t>
            </a:r>
            <a:r>
              <a:rPr lang="de-AT" dirty="0" err="1"/>
              <a:t>are</a:t>
            </a:r>
            <a:r>
              <a:rPr lang="de-AT" dirty="0"/>
              <a:t> not </a:t>
            </a:r>
            <a:r>
              <a:rPr lang="de-AT" dirty="0" err="1"/>
              <a:t>considered</a:t>
            </a:r>
            <a:r>
              <a:rPr lang="de-AT" dirty="0"/>
              <a:t> </a:t>
            </a:r>
            <a:r>
              <a:rPr lang="de-AT" dirty="0" err="1"/>
              <a:t>when</a:t>
            </a:r>
            <a:r>
              <a:rPr lang="de-AT" dirty="0"/>
              <a:t> </a:t>
            </a:r>
            <a:r>
              <a:rPr lang="de-AT" dirty="0" err="1"/>
              <a:t>computing</a:t>
            </a:r>
            <a:r>
              <a:rPr lang="de-AT" dirty="0"/>
              <a:t> </a:t>
            </a:r>
            <a:r>
              <a:rPr lang="de-AT" dirty="0" err="1"/>
              <a:t>descriptive</a:t>
            </a:r>
            <a:r>
              <a:rPr lang="de-AT" dirty="0"/>
              <a:t> </a:t>
            </a:r>
            <a:r>
              <a:rPr lang="de-AT" dirty="0" err="1"/>
              <a:t>statistics</a:t>
            </a:r>
            <a:endParaRPr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B0707F78-7D49-DD4D-E25A-AEB7CED1D7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713" y="684213"/>
            <a:ext cx="17338675" cy="2484437"/>
          </a:xfrm>
        </p:spPr>
        <p:txBody>
          <a:bodyPr vert="horz" rIns="91440" anchor="ctr">
            <a:normAutofit/>
          </a:bodyPr>
          <a:lstStyle/>
          <a:p>
            <a:r>
              <a:rPr lang="en-US" dirty="0"/>
              <a:t>In total 1657 notaries &amp; notary candidates across 22 countries answered the survey, i.e., about 75 responses per country on averag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0643D09-A239-DCFC-6804-2F061FFBAE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6964" y="3421063"/>
            <a:ext cx="15990173" cy="8154987"/>
          </a:xfrm>
          <a:prstGeom prst="rect">
            <a:avLst/>
          </a:prstGeom>
          <a:noFill/>
        </p:spPr>
      </p:pic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4802AF6-AED9-ED18-9F83-2B1CFBA7D6F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9408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802AF6-AED9-ED18-9F83-2B1CFBA7D6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699528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B061043-24C6-756A-511B-7D44319E262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585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05" progId="TCLayout.ActiveDocument.1">
                  <p:embed/>
                </p:oleObj>
              </mc:Choice>
              <mc:Fallback>
                <p:oleObj name="think-cell Slide" r:id="rId3" imgW="631" imgH="6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061043-24C6-756A-511B-7D44319E26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ADB86FAC-FB83-D7D5-C83C-37CFB55F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713" y="684213"/>
            <a:ext cx="17338675" cy="2484437"/>
          </a:xfrm>
        </p:spPr>
        <p:txBody>
          <a:bodyPr vert="horz" rIns="91440" anchor="ctr">
            <a:normAutofit/>
          </a:bodyPr>
          <a:lstStyle/>
          <a:p>
            <a:r>
              <a:rPr lang="en-US" dirty="0"/>
              <a:t>Notaries are perceived more trustworthy than courts and solicitor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992B6C6-42CB-3DC8-ABCF-9434DA4EF7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56964" y="3421063"/>
            <a:ext cx="15990173" cy="8154987"/>
          </a:xfrm>
          <a:prstGeom prst="rect">
            <a:avLst/>
          </a:prstGeom>
          <a:noFill/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55E6A60-B23A-1AE9-DE54-A3198FF68758}"/>
              </a:ext>
            </a:extLst>
          </p:cNvPr>
          <p:cNvSpPr txBox="1"/>
          <p:nvPr/>
        </p:nvSpPr>
        <p:spPr>
          <a:xfrm>
            <a:off x="2430569" y="11684048"/>
            <a:ext cx="14325600" cy="9682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rvey implementation:</a:t>
            </a:r>
            <a:b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By trustworthiness, we mean earning the trust of others to act honestly, ethically, and reliably, so that others feel secure in relying on you.</a:t>
            </a:r>
            <a:b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w trustworthy do you perceive the services of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… 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your country from the perspective of potential clients?”</a:t>
            </a:r>
            <a:endParaRPr lang="de-DE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079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81E0803-5EFD-0C2A-B757-3B420FBD0EC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8401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05" progId="TCLayout.ActiveDocument.1">
                  <p:embed/>
                </p:oleObj>
              </mc:Choice>
              <mc:Fallback>
                <p:oleObj name="think-cell Slide" r:id="rId3" imgW="631" imgH="6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1E0803-5EFD-0C2A-B757-3B420FBD0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F1647E08-1092-5A0A-46FD-B3230ACE1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713" y="684213"/>
            <a:ext cx="17338675" cy="2484437"/>
          </a:xfrm>
        </p:spPr>
        <p:txBody>
          <a:bodyPr vert="horz" rIns="91440" anchor="ctr">
            <a:normAutofit/>
          </a:bodyPr>
          <a:lstStyle/>
          <a:p>
            <a:r>
              <a:rPr lang="en-US" dirty="0"/>
              <a:t>Notaries are perceived as more reliable than courts and solicitor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F3E690B-0483-6D81-9413-B1093CDFA7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56964" y="3421063"/>
            <a:ext cx="15990173" cy="8154987"/>
          </a:xfrm>
          <a:prstGeom prst="rect">
            <a:avLst/>
          </a:prstGeom>
          <a:noFill/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B365579-A9BD-5585-00E9-6409B5AD12E6}"/>
              </a:ext>
            </a:extLst>
          </p:cNvPr>
          <p:cNvSpPr txBox="1"/>
          <p:nvPr/>
        </p:nvSpPr>
        <p:spPr>
          <a:xfrm>
            <a:off x="2430569" y="11684048"/>
            <a:ext cx="14325600" cy="9682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rvey implementation:</a:t>
            </a:r>
            <a:b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By reliability, we mean consistently delivering good results and meeting expectations over an extended period.</a:t>
            </a:r>
            <a:b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w reliable do you perceive the services of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… 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your country from the perspective of potential clients?”</a:t>
            </a:r>
            <a:endParaRPr lang="de-DE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746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490D8F27-DD74-C33C-19DD-7E4504AB5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713" y="684213"/>
            <a:ext cx="17338675" cy="2484437"/>
          </a:xfrm>
        </p:spPr>
        <p:txBody>
          <a:bodyPr anchor="ctr">
            <a:normAutofit/>
          </a:bodyPr>
          <a:lstStyle/>
          <a:p>
            <a:r>
              <a:rPr lang="en-US" dirty="0"/>
              <a:t>Notaries are perceived more punctual that solicitors and courts – with the latter being perceived as the least able to deliver in a timely mann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E18DFBE-4228-3623-6123-0867322C66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6964" y="3421063"/>
            <a:ext cx="15990173" cy="8154987"/>
          </a:xfrm>
          <a:prstGeom prst="rect">
            <a:avLst/>
          </a:prstGeom>
          <a:noFill/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6B864BC-80D4-B832-387D-A633A520E492}"/>
              </a:ext>
            </a:extLst>
          </p:cNvPr>
          <p:cNvSpPr txBox="1"/>
          <p:nvPr/>
        </p:nvSpPr>
        <p:spPr>
          <a:xfrm>
            <a:off x="2430569" y="11684048"/>
            <a:ext cx="14325600" cy="9682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rvey implementation:</a:t>
            </a:r>
            <a:b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By punctuality, we mean the ability to deliver expected results in a timely manner.</a:t>
            </a:r>
            <a:b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w punctual do you perceive the services of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… 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your country from the perspective of potential clients?”</a:t>
            </a:r>
            <a:endParaRPr lang="de-DE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77841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18C52F6-EEF3-F880-0C9A-6ADF7CB3ECA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52F6-EEF3-F880-0C9A-6ADF7CB3E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b="1" dirty="0">
                <a:solidFill>
                  <a:srgbClr val="A78A4C"/>
                </a:solidFill>
              </a:rPr>
              <a:t>Trust &amp; Service Qualit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 anchor="t">
            <a:normAutofit/>
          </a:bodyPr>
          <a:lstStyle/>
          <a:p>
            <a:pPr marL="0" indent="0">
              <a:spcAft>
                <a:spcPts val="1200"/>
              </a:spcAft>
              <a:buClr>
                <a:srgbClr val="C00000"/>
              </a:buClr>
              <a:buNone/>
            </a:pPr>
            <a:r>
              <a:rPr lang="en-US" sz="4000" dirty="0"/>
              <a:t>When comparing the perception of Notaries, Courts and Solicitors: </a:t>
            </a:r>
          </a:p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b="1" dirty="0"/>
              <a:t>Notaries lead on perceived service quality</a:t>
            </a:r>
            <a:r>
              <a:rPr lang="en-US" sz="4000" dirty="0"/>
              <a:t>: Across countries, respondents rate notaries higher than courts and solicitors on all three dimensions shown (trustworthiness, reliability, punctuality).</a:t>
            </a:r>
          </a:p>
          <a:p>
            <a:pPr>
              <a:spcAft>
                <a:spcPts val="1200"/>
              </a:spcAft>
              <a:buClr>
                <a:srgbClr val="C00000"/>
              </a:buClr>
            </a:pPr>
            <a:r>
              <a:rPr lang="en-US" sz="4000" dirty="0"/>
              <a:t>While </a:t>
            </a:r>
            <a:r>
              <a:rPr lang="en-US" sz="4000" b="1" dirty="0"/>
              <a:t>Courts</a:t>
            </a:r>
            <a:r>
              <a:rPr lang="en-US" sz="4000" dirty="0"/>
              <a:t> are seen as </a:t>
            </a:r>
            <a:r>
              <a:rPr lang="en-US" sz="4000" b="1" dirty="0"/>
              <a:t>more trustworthy and reliable than Solicitors</a:t>
            </a:r>
            <a:r>
              <a:rPr lang="en-US" sz="4000" dirty="0"/>
              <a:t>, they are the </a:t>
            </a:r>
            <a:r>
              <a:rPr lang="en-US" sz="4000" b="1" dirty="0"/>
              <a:t>weakest on timeliness</a:t>
            </a:r>
          </a:p>
        </p:txBody>
      </p:sp>
    </p:spTree>
    <p:extLst>
      <p:ext uri="{BB962C8B-B14F-4D97-AF65-F5344CB8AC3E}">
        <p14:creationId xmlns:p14="http://schemas.microsoft.com/office/powerpoint/2010/main" val="947864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F54B6A33-B1DF-7EC0-5DB6-D1C127A93C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713" y="684213"/>
            <a:ext cx="17338675" cy="2484437"/>
          </a:xfrm>
        </p:spPr>
        <p:txBody>
          <a:bodyPr vert="horz" rIns="91440" anchor="ctr">
            <a:normAutofit/>
          </a:bodyPr>
          <a:lstStyle/>
          <a:p>
            <a:r>
              <a:rPr lang="en-US" dirty="0"/>
              <a:t>Over 72% of notaries support amicable divorce, but there is a huge heterogeneity across countri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9C86D63-D91C-AD1B-FB1B-66CBD527BD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6964" y="3421063"/>
            <a:ext cx="15990173" cy="8154987"/>
          </a:xfrm>
          <a:prstGeom prst="rect">
            <a:avLst/>
          </a:prstGeom>
          <a:noFill/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D1E646A-F684-34AD-DC4C-68DA6F2958E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1E646A-F684-34AD-DC4C-68DA6F2958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92528E70-67F5-7D92-723B-EEF87B5AC16A}"/>
              </a:ext>
            </a:extLst>
          </p:cNvPr>
          <p:cNvSpPr txBox="1"/>
          <p:nvPr/>
        </p:nvSpPr>
        <p:spPr>
          <a:xfrm>
            <a:off x="2430569" y="11684048"/>
            <a:ext cx="14325600" cy="6719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rvey implementation:</a:t>
            </a:r>
            <a:b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your career as a notary, have you ever provided professional legal support in matters of amicable divorce?”</a:t>
            </a:r>
            <a:endParaRPr lang="de-DE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7334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PRESENTATIONDONOTDELETE" val="&lt;?xml version=&quot;1.0&quot; encoding=&quot;UTF-16&quot; standalone=&quot;yes&quot;?&gt;&lt;root reqver=&quot;28224&quot;&gt;&lt;version val=&quot;3567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.%#m.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ASYMASTER" val="KPMG A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JuWiLi-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A78A4C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JuWiLi-2">
      <a:majorFont>
        <a:latin typeface="Open Sans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deff24bb-2089-4400-8c8e-f71e680378b2}" enabled="0" method="" siteId="{deff24bb-2089-4400-8c8e-f71e680378b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03</Words>
  <Application>Microsoft Office PowerPoint</Application>
  <PresentationFormat>Custom</PresentationFormat>
  <Paragraphs>65</Paragraphs>
  <Slides>2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ptos</vt:lpstr>
      <vt:lpstr>Aptos Display</vt:lpstr>
      <vt:lpstr>Arial</vt:lpstr>
      <vt:lpstr>Calibri</vt:lpstr>
      <vt:lpstr>HelveticaNeue-Light</vt:lpstr>
      <vt:lpstr>Open Sans Light</vt:lpstr>
      <vt:lpstr>OpenSans-Semibold</vt:lpstr>
      <vt:lpstr>Wingdings</vt:lpstr>
      <vt:lpstr>Custom Design</vt:lpstr>
      <vt:lpstr>1_Office Theme</vt:lpstr>
      <vt:lpstr>think-cell Slide</vt:lpstr>
      <vt:lpstr>Notaries, Amicable Divorce &amp; Mediation in Europe: Demand, Capability Gaps, and the Role of Behavioral Insights</vt:lpstr>
      <vt:lpstr>Why this survey?</vt:lpstr>
      <vt:lpstr>Who responded?</vt:lpstr>
      <vt:lpstr>In total 1657 notaries &amp; notary candidates across 22 countries answered the survey, i.e., about 75 responses per country on average</vt:lpstr>
      <vt:lpstr>Notaries are perceived more trustworthy than courts and solicitors</vt:lpstr>
      <vt:lpstr>Notaries are perceived as more reliable than courts and solicitors</vt:lpstr>
      <vt:lpstr>Notaries are perceived more punctual that solicitors and courts – with the latter being perceived as the least able to deliver in a timely manner</vt:lpstr>
      <vt:lpstr>Trust &amp; Service Quality</vt:lpstr>
      <vt:lpstr>Over 72% of notaries support amicable divorce, but there is a huge heterogeneity across countries</vt:lpstr>
      <vt:lpstr>Training in amicable divorce handling varies widely across countries</vt:lpstr>
      <vt:lpstr>Amicable Divorce</vt:lpstr>
      <vt:lpstr>Only 22% of notaries state to offer mediation services, i.e., 78% currently do not</vt:lpstr>
      <vt:lpstr>Notaries estimate that about 21% of all notaries in their country offer mediation services</vt:lpstr>
      <vt:lpstr>Overall the estimation how many notaries offer mediation services is almost on point (22% vs. 21%), BUT there are huge differences across countries</vt:lpstr>
      <vt:lpstr>Mediation Services</vt:lpstr>
      <vt:lpstr>The actual questions asked</vt:lpstr>
      <vt:lpstr>The expected impact of behavioral interventions is quite high, with some variation depending on the measure</vt:lpstr>
      <vt:lpstr>Two thirds of notaries are interested in learning more about how to apply behavioral insights </vt:lpstr>
      <vt:lpstr>Most respondents want to learn via chamber-led voluntary training, with limited interest in mandatory programs</vt:lpstr>
      <vt:lpstr>Attitudes towards Behavioral Interventions</vt:lpstr>
      <vt:lpstr>Conclusion &amp; Outloo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nastasia Yakunina</dc:creator>
  <cp:lastModifiedBy>Axel Sonntag</cp:lastModifiedBy>
  <cp:revision>15</cp:revision>
  <dcterms:created xsi:type="dcterms:W3CDTF">2025-01-10T09:51:37Z</dcterms:created>
  <dcterms:modified xsi:type="dcterms:W3CDTF">2026-03-18T10:4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5-01-10T00:00:00Z</vt:filetime>
  </property>
  <property fmtid="{D5CDD505-2E9C-101B-9397-08002B2CF9AE}" pid="3" name="Creator">
    <vt:lpwstr>Adobe InDesign 20.0 (Macintosh)</vt:lpwstr>
  </property>
  <property fmtid="{D5CDD505-2E9C-101B-9397-08002B2CF9AE}" pid="4" name="LastSaved">
    <vt:filetime>2025-01-10T00:00:00Z</vt:filetime>
  </property>
</Properties>
</file>